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ppt/tags/tag11.xml" ContentType="application/vnd.openxmlformats-officedocument.presentationml.tags+xml"/>
  <Override PartName="/ppt/notesSlides/notesSlide3.xml" ContentType="application/vnd.openxmlformats-officedocument.presentationml.notesSlide+xml"/>
  <Override PartName="/ppt/tags/tag12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autoCompressPictures="0">
  <p:sldMasterIdLst>
    <p:sldMasterId id="2147483648" r:id="rId4"/>
  </p:sldMasterIdLst>
  <p:notesMasterIdLst>
    <p:notesMasterId r:id="rId13"/>
  </p:notesMasterIdLst>
  <p:sldIdLst>
    <p:sldId id="2083" r:id="rId5"/>
    <p:sldId id="2044" r:id="rId6"/>
    <p:sldId id="2047" r:id="rId7"/>
    <p:sldId id="2079" r:id="rId8"/>
    <p:sldId id="2081" r:id="rId9"/>
    <p:sldId id="2082" r:id="rId10"/>
    <p:sldId id="2080" r:id="rId11"/>
    <p:sldId id="2046" r:id="rId12"/>
  </p:sldIdLst>
  <p:sldSz cx="11522075" cy="6484938"/>
  <p:notesSz cx="7315200" cy="12344400"/>
  <p:embeddedFontLst>
    <p:embeddedFont>
      <p:font typeface="FlexoSoft" panose="02000000000000000000" pitchFamily="2" charset="0"/>
      <p:regular r:id="rId14"/>
      <p:bold r:id="rId15"/>
      <p:italic r:id="rId16"/>
      <p:boldItalic r:id="rId17"/>
    </p:embeddedFont>
    <p:embeddedFont>
      <p:font typeface="Montserrat" pitchFamily="2" charset="77"/>
      <p:regular r:id="rId18"/>
      <p:bold r:id="rId19"/>
      <p:italic r:id="rId20"/>
      <p:boldItalic r:id="rId21"/>
    </p:embeddedFont>
    <p:embeddedFont>
      <p:font typeface="Montserrat Light" panose="020F0302020204030204" pitchFamily="34" charset="0"/>
      <p:regular r:id="rId22"/>
      <p:italic r:id="rId23"/>
    </p:embeddedFont>
    <p:embeddedFont>
      <p:font typeface="Montserrat SemiBold" panose="020F0502020204030204" pitchFamily="34" charset="0"/>
      <p:regular r:id="rId24"/>
      <p:bold r:id="rId25"/>
      <p:italic r:id="rId26"/>
      <p:boldItalic r:id="rId27"/>
    </p:embeddedFont>
    <p:embeddedFont>
      <p:font typeface="Open Sans" panose="020B0606030504020204" pitchFamily="34" charset="0"/>
      <p:regular r:id="rId28"/>
      <p:bold r:id="rId29"/>
      <p:italic r:id="rId30"/>
      <p:boldItalic r:id="rId31"/>
    </p:embeddedFont>
    <p:embeddedFont>
      <p:font typeface="Wingdings 2" pitchFamily="2" charset="2"/>
      <p:regular r:id="rId32"/>
    </p:embeddedFont>
  </p:embeddedFontLst>
  <p:custDataLst>
    <p:tags r:id="rId3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esentation" id="{6C964C34-E9F5-4320-A6FA-D1BDB512744B}">
          <p14:sldIdLst>
            <p14:sldId id="2083"/>
            <p14:sldId id="2044"/>
            <p14:sldId id="2047"/>
            <p14:sldId id="2079"/>
            <p14:sldId id="2081"/>
            <p14:sldId id="2082"/>
            <p14:sldId id="2080"/>
            <p14:sldId id="204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27" userDrawn="1">
          <p15:clr>
            <a:srgbClr val="A4A3A4"/>
          </p15:clr>
        </p15:guide>
        <p15:guide id="2" pos="182" userDrawn="1">
          <p15:clr>
            <a:srgbClr val="A4A3A4"/>
          </p15:clr>
        </p15:guide>
        <p15:guide id="3" pos="1832" userDrawn="1">
          <p15:clr>
            <a:srgbClr val="A4A3A4"/>
          </p15:clr>
        </p15:guide>
        <p15:guide id="4" pos="1927" userDrawn="1">
          <p15:clr>
            <a:srgbClr val="A4A3A4"/>
          </p15:clr>
        </p15:guide>
        <p15:guide id="5" pos="3584" userDrawn="1">
          <p15:clr>
            <a:srgbClr val="A4A3A4"/>
          </p15:clr>
        </p15:guide>
        <p15:guide id="6" pos="3672" userDrawn="1">
          <p15:clr>
            <a:srgbClr val="A4A3A4"/>
          </p15:clr>
        </p15:guide>
        <p15:guide id="7" pos="5328" userDrawn="1">
          <p15:clr>
            <a:srgbClr val="A4A3A4"/>
          </p15:clr>
        </p15:guide>
        <p15:guide id="8" pos="5419" userDrawn="1">
          <p15:clr>
            <a:srgbClr val="A4A3A4"/>
          </p15:clr>
        </p15:guide>
        <p15:guide id="9" pos="7075" userDrawn="1">
          <p15:clr>
            <a:srgbClr val="A4A3A4"/>
          </p15:clr>
        </p15:guide>
        <p15:guide id="10" orient="horz" pos="322" userDrawn="1">
          <p15:clr>
            <a:srgbClr val="A4A3A4"/>
          </p15:clr>
        </p15:guide>
        <p15:guide id="11" orient="horz" pos="741" userDrawn="1">
          <p15:clr>
            <a:srgbClr val="A4A3A4"/>
          </p15:clr>
        </p15:guide>
        <p15:guide id="12" orient="horz" pos="1013" userDrawn="1">
          <p15:clr>
            <a:srgbClr val="A4A3A4"/>
          </p15:clr>
        </p15:guide>
        <p15:guide id="13" orient="horz" pos="3678" userDrawn="1">
          <p15:clr>
            <a:srgbClr val="A4A3A4"/>
          </p15:clr>
        </p15:guide>
        <p15:guide id="14" orient="horz" pos="3811" userDrawn="1">
          <p15:clr>
            <a:srgbClr val="A4A3A4"/>
          </p15:clr>
        </p15:guide>
        <p15:guide id="15" orient="horz" pos="396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1" name="Autor" initials="A" lastIdx="0" clrIdx="1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A9BF3"/>
    <a:srgbClr val="122769"/>
    <a:srgbClr val="014651"/>
    <a:srgbClr val="000620"/>
    <a:srgbClr val="004750"/>
    <a:srgbClr val="37FFFD"/>
    <a:srgbClr val="FFFFFF"/>
    <a:srgbClr val="A4A4A4"/>
    <a:srgbClr val="32B9AF"/>
    <a:srgbClr val="00A2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610C173-2D3E-D34C-812C-51ABDB2614AF}" v="2" dt="2024-09-13T06:42:22.29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ittlere Formatvorlag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E25E649-3F16-4E02-A733-19D2CDBF48F0}" styleName="Mittlere Formatvorlage 3 - Akz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266" autoAdjust="0"/>
    <p:restoredTop sz="96224"/>
  </p:normalViewPr>
  <p:slideViewPr>
    <p:cSldViewPr snapToGrid="0">
      <p:cViewPr varScale="1">
        <p:scale>
          <a:sx n="156" d="100"/>
          <a:sy n="156" d="100"/>
        </p:scale>
        <p:origin x="1048" y="192"/>
      </p:cViewPr>
      <p:guideLst>
        <p:guide orient="horz" pos="227"/>
        <p:guide pos="182"/>
        <p:guide pos="1832"/>
        <p:guide pos="1927"/>
        <p:guide pos="3584"/>
        <p:guide pos="3672"/>
        <p:guide pos="5328"/>
        <p:guide pos="5419"/>
        <p:guide pos="7075"/>
        <p:guide orient="horz" pos="322"/>
        <p:guide orient="horz" pos="741"/>
        <p:guide orient="horz" pos="1013"/>
        <p:guide orient="horz" pos="3678"/>
        <p:guide orient="horz" pos="3811"/>
        <p:guide orient="horz" pos="3965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notesMaster" Target="notesMasters/notesMaster1.xml"/><Relationship Id="rId18" Type="http://schemas.openxmlformats.org/officeDocument/2006/relationships/font" Target="fonts/font5.fntdata"/><Relationship Id="rId26" Type="http://schemas.openxmlformats.org/officeDocument/2006/relationships/font" Target="fonts/font13.fntdata"/><Relationship Id="rId39" Type="http://schemas.microsoft.com/office/2016/11/relationships/changesInfo" Target="changesInfos/changesInfo1.xml"/><Relationship Id="rId21" Type="http://schemas.openxmlformats.org/officeDocument/2006/relationships/font" Target="fonts/font8.fntdata"/><Relationship Id="rId34" Type="http://schemas.openxmlformats.org/officeDocument/2006/relationships/commentAuthors" Target="comment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font" Target="fonts/font4.fntdata"/><Relationship Id="rId25" Type="http://schemas.openxmlformats.org/officeDocument/2006/relationships/font" Target="fonts/font12.fntdata"/><Relationship Id="rId33" Type="http://schemas.openxmlformats.org/officeDocument/2006/relationships/tags" Target="tags/tag1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font" Target="fonts/font3.fntdata"/><Relationship Id="rId20" Type="http://schemas.openxmlformats.org/officeDocument/2006/relationships/font" Target="fonts/font7.fntdata"/><Relationship Id="rId29" Type="http://schemas.openxmlformats.org/officeDocument/2006/relationships/font" Target="fonts/font16.fntdata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font" Target="fonts/font11.fntdata"/><Relationship Id="rId32" Type="http://schemas.openxmlformats.org/officeDocument/2006/relationships/font" Target="fonts/font19.fntdata"/><Relationship Id="rId37" Type="http://schemas.openxmlformats.org/officeDocument/2006/relationships/theme" Target="theme/theme1.xml"/><Relationship Id="rId40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font" Target="fonts/font2.fntdata"/><Relationship Id="rId23" Type="http://schemas.openxmlformats.org/officeDocument/2006/relationships/font" Target="fonts/font10.fntdata"/><Relationship Id="rId28" Type="http://schemas.openxmlformats.org/officeDocument/2006/relationships/font" Target="fonts/font15.fntdata"/><Relationship Id="rId36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font" Target="fonts/font6.fntdata"/><Relationship Id="rId31" Type="http://schemas.openxmlformats.org/officeDocument/2006/relationships/font" Target="fonts/font18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font" Target="fonts/font1.fntdata"/><Relationship Id="rId22" Type="http://schemas.openxmlformats.org/officeDocument/2006/relationships/font" Target="fonts/font9.fntdata"/><Relationship Id="rId27" Type="http://schemas.openxmlformats.org/officeDocument/2006/relationships/font" Target="fonts/font14.fntdata"/><Relationship Id="rId30" Type="http://schemas.openxmlformats.org/officeDocument/2006/relationships/font" Target="fonts/font17.fntdata"/><Relationship Id="rId35" Type="http://schemas.openxmlformats.org/officeDocument/2006/relationships/presProps" Target="presProp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ümmerle, Markus" userId="edb588ad-b118-44cb-93b6-335b967c9009" providerId="ADAL" clId="{2F0FF740-952C-4C74-882C-C4254FB9DD08}"/>
    <pc:docChg chg="modSld">
      <pc:chgData name="Kümmerle, Markus" userId="edb588ad-b118-44cb-93b6-335b967c9009" providerId="ADAL" clId="{2F0FF740-952C-4C74-882C-C4254FB9DD08}" dt="2024-09-13T06:14:49.856" v="7" actId="20577"/>
      <pc:docMkLst>
        <pc:docMk/>
      </pc:docMkLst>
      <pc:sldChg chg="modSp mod">
        <pc:chgData name="Kümmerle, Markus" userId="edb588ad-b118-44cb-93b6-335b967c9009" providerId="ADAL" clId="{2F0FF740-952C-4C74-882C-C4254FB9DD08}" dt="2024-09-13T06:14:49.856" v="7" actId="20577"/>
        <pc:sldMkLst>
          <pc:docMk/>
          <pc:sldMk cId="1652484770" sldId="2044"/>
        </pc:sldMkLst>
        <pc:spChg chg="mod">
          <ac:chgData name="Kümmerle, Markus" userId="edb588ad-b118-44cb-93b6-335b967c9009" providerId="ADAL" clId="{2F0FF740-952C-4C74-882C-C4254FB9DD08}" dt="2024-09-13T06:14:49.856" v="7" actId="20577"/>
          <ac:spMkLst>
            <pc:docMk/>
            <pc:sldMk cId="1652484770" sldId="2044"/>
            <ac:spMk id="7" creationId="{C1CBEC6C-A35E-B413-C2F0-A045C556DBD2}"/>
          </ac:spMkLst>
        </pc:spChg>
      </pc:sldChg>
      <pc:sldChg chg="modSp mod">
        <pc:chgData name="Kümmerle, Markus" userId="edb588ad-b118-44cb-93b6-335b967c9009" providerId="ADAL" clId="{2F0FF740-952C-4C74-882C-C4254FB9DD08}" dt="2024-09-13T06:13:24.281" v="3" actId="20577"/>
        <pc:sldMkLst>
          <pc:docMk/>
          <pc:sldMk cId="3521829536" sldId="2047"/>
        </pc:sldMkLst>
        <pc:spChg chg="mod">
          <ac:chgData name="Kümmerle, Markus" userId="edb588ad-b118-44cb-93b6-335b967c9009" providerId="ADAL" clId="{2F0FF740-952C-4C74-882C-C4254FB9DD08}" dt="2024-09-13T06:13:24.281" v="3" actId="20577"/>
          <ac:spMkLst>
            <pc:docMk/>
            <pc:sldMk cId="3521829536" sldId="2047"/>
            <ac:spMk id="61" creationId="{EFA2E92E-5CCC-481F-CDE7-EA0595DD343F}"/>
          </ac:spMkLst>
        </pc:spChg>
        <pc:spChg chg="mod">
          <ac:chgData name="Kümmerle, Markus" userId="edb588ad-b118-44cb-93b6-335b967c9009" providerId="ADAL" clId="{2F0FF740-952C-4C74-882C-C4254FB9DD08}" dt="2024-09-13T06:13:19.730" v="1" actId="20577"/>
          <ac:spMkLst>
            <pc:docMk/>
            <pc:sldMk cId="3521829536" sldId="2047"/>
            <ac:spMk id="62" creationId="{760D0372-935B-4706-05C8-2A4FEAE5750D}"/>
          </ac:spMkLst>
        </pc:spChg>
      </pc:sldChg>
    </pc:docChg>
  </pc:docChgLst>
  <pc:docChgLst>
    <pc:chgData name="Damker, Herbert" userId="37ff36be-0e4d-42c3-ac06-7b904f0f6b24" providerId="ADAL" clId="{9610C173-2D3E-D34C-812C-51ABDB2614AF}"/>
    <pc:docChg chg="undo custSel addSld delSld modSld sldOrd modSection">
      <pc:chgData name="Damker, Herbert" userId="37ff36be-0e4d-42c3-ac06-7b904f0f6b24" providerId="ADAL" clId="{9610C173-2D3E-D34C-812C-51ABDB2614AF}" dt="2024-09-13T06:45:09.660" v="2706" actId="20577"/>
      <pc:docMkLst>
        <pc:docMk/>
      </pc:docMkLst>
      <pc:sldChg chg="addSp delSp modSp add del mod">
        <pc:chgData name="Damker, Herbert" userId="37ff36be-0e4d-42c3-ac06-7b904f0f6b24" providerId="ADAL" clId="{9610C173-2D3E-D34C-812C-51ABDB2614AF}" dt="2024-09-11T10:43:32.578" v="806" actId="2696"/>
        <pc:sldMkLst>
          <pc:docMk/>
          <pc:sldMk cId="0" sldId="267"/>
        </pc:sldMkLst>
        <pc:spChg chg="add mod">
          <ac:chgData name="Damker, Herbert" userId="37ff36be-0e4d-42c3-ac06-7b904f0f6b24" providerId="ADAL" clId="{9610C173-2D3E-D34C-812C-51ABDB2614AF}" dt="2024-09-11T10:24:00.898" v="359" actId="20577"/>
          <ac:spMkLst>
            <pc:docMk/>
            <pc:sldMk cId="0" sldId="267"/>
            <ac:spMk id="2" creationId="{16205029-B4AE-9C1D-3D8D-DA111B559527}"/>
          </ac:spMkLst>
        </pc:spChg>
        <pc:spChg chg="del">
          <ac:chgData name="Damker, Herbert" userId="37ff36be-0e4d-42c3-ac06-7b904f0f6b24" providerId="ADAL" clId="{9610C173-2D3E-D34C-812C-51ABDB2614AF}" dt="2024-09-11T10:22:50.028" v="336" actId="478"/>
          <ac:spMkLst>
            <pc:docMk/>
            <pc:sldMk cId="0" sldId="267"/>
            <ac:spMk id="235" creationId="{00000000-0000-0000-0000-000000000000}"/>
          </ac:spMkLst>
        </pc:spChg>
        <pc:spChg chg="del">
          <ac:chgData name="Damker, Herbert" userId="37ff36be-0e4d-42c3-ac06-7b904f0f6b24" providerId="ADAL" clId="{9610C173-2D3E-D34C-812C-51ABDB2614AF}" dt="2024-09-11T10:22:40.625" v="334" actId="478"/>
          <ac:spMkLst>
            <pc:docMk/>
            <pc:sldMk cId="0" sldId="267"/>
            <ac:spMk id="238" creationId="{00000000-0000-0000-0000-000000000000}"/>
          </ac:spMkLst>
        </pc:spChg>
        <pc:spChg chg="del">
          <ac:chgData name="Damker, Herbert" userId="37ff36be-0e4d-42c3-ac06-7b904f0f6b24" providerId="ADAL" clId="{9610C173-2D3E-D34C-812C-51ABDB2614AF}" dt="2024-09-11T10:22:47.256" v="335" actId="478"/>
          <ac:spMkLst>
            <pc:docMk/>
            <pc:sldMk cId="0" sldId="267"/>
            <ac:spMk id="239" creationId="{00000000-0000-0000-0000-000000000000}"/>
          </ac:spMkLst>
        </pc:spChg>
        <pc:spChg chg="del">
          <ac:chgData name="Damker, Herbert" userId="37ff36be-0e4d-42c3-ac06-7b904f0f6b24" providerId="ADAL" clId="{9610C173-2D3E-D34C-812C-51ABDB2614AF}" dt="2024-09-11T10:22:47.256" v="335" actId="478"/>
          <ac:spMkLst>
            <pc:docMk/>
            <pc:sldMk cId="0" sldId="267"/>
            <ac:spMk id="240" creationId="{00000000-0000-0000-0000-000000000000}"/>
          </ac:spMkLst>
        </pc:spChg>
        <pc:spChg chg="del">
          <ac:chgData name="Damker, Herbert" userId="37ff36be-0e4d-42c3-ac06-7b904f0f6b24" providerId="ADAL" clId="{9610C173-2D3E-D34C-812C-51ABDB2614AF}" dt="2024-09-11T10:22:47.256" v="335" actId="478"/>
          <ac:spMkLst>
            <pc:docMk/>
            <pc:sldMk cId="0" sldId="267"/>
            <ac:spMk id="241" creationId="{00000000-0000-0000-0000-000000000000}"/>
          </ac:spMkLst>
        </pc:spChg>
        <pc:spChg chg="del">
          <ac:chgData name="Damker, Herbert" userId="37ff36be-0e4d-42c3-ac06-7b904f0f6b24" providerId="ADAL" clId="{9610C173-2D3E-D34C-812C-51ABDB2614AF}" dt="2024-09-11T10:22:47.256" v="335" actId="478"/>
          <ac:spMkLst>
            <pc:docMk/>
            <pc:sldMk cId="0" sldId="267"/>
            <ac:spMk id="242" creationId="{00000000-0000-0000-0000-000000000000}"/>
          </ac:spMkLst>
        </pc:spChg>
        <pc:spChg chg="del">
          <ac:chgData name="Damker, Herbert" userId="37ff36be-0e4d-42c3-ac06-7b904f0f6b24" providerId="ADAL" clId="{9610C173-2D3E-D34C-812C-51ABDB2614AF}" dt="2024-09-11T10:22:47.256" v="335" actId="478"/>
          <ac:spMkLst>
            <pc:docMk/>
            <pc:sldMk cId="0" sldId="267"/>
            <ac:spMk id="243" creationId="{00000000-0000-0000-0000-000000000000}"/>
          </ac:spMkLst>
        </pc:spChg>
        <pc:spChg chg="del">
          <ac:chgData name="Damker, Herbert" userId="37ff36be-0e4d-42c3-ac06-7b904f0f6b24" providerId="ADAL" clId="{9610C173-2D3E-D34C-812C-51ABDB2614AF}" dt="2024-09-11T10:22:47.256" v="335" actId="478"/>
          <ac:spMkLst>
            <pc:docMk/>
            <pc:sldMk cId="0" sldId="267"/>
            <ac:spMk id="244" creationId="{00000000-0000-0000-0000-000000000000}"/>
          </ac:spMkLst>
        </pc:spChg>
        <pc:spChg chg="del">
          <ac:chgData name="Damker, Herbert" userId="37ff36be-0e4d-42c3-ac06-7b904f0f6b24" providerId="ADAL" clId="{9610C173-2D3E-D34C-812C-51ABDB2614AF}" dt="2024-09-11T10:22:47.256" v="335" actId="478"/>
          <ac:spMkLst>
            <pc:docMk/>
            <pc:sldMk cId="0" sldId="267"/>
            <ac:spMk id="245" creationId="{00000000-0000-0000-0000-000000000000}"/>
          </ac:spMkLst>
        </pc:spChg>
        <pc:spChg chg="del">
          <ac:chgData name="Damker, Herbert" userId="37ff36be-0e4d-42c3-ac06-7b904f0f6b24" providerId="ADAL" clId="{9610C173-2D3E-D34C-812C-51ABDB2614AF}" dt="2024-09-11T10:22:47.256" v="335" actId="478"/>
          <ac:spMkLst>
            <pc:docMk/>
            <pc:sldMk cId="0" sldId="267"/>
            <ac:spMk id="246" creationId="{00000000-0000-0000-0000-000000000000}"/>
          </ac:spMkLst>
        </pc:spChg>
        <pc:spChg chg="del">
          <ac:chgData name="Damker, Herbert" userId="37ff36be-0e4d-42c3-ac06-7b904f0f6b24" providerId="ADAL" clId="{9610C173-2D3E-D34C-812C-51ABDB2614AF}" dt="2024-09-11T10:22:47.256" v="335" actId="478"/>
          <ac:spMkLst>
            <pc:docMk/>
            <pc:sldMk cId="0" sldId="267"/>
            <ac:spMk id="247" creationId="{00000000-0000-0000-0000-000000000000}"/>
          </ac:spMkLst>
        </pc:spChg>
        <pc:spChg chg="del">
          <ac:chgData name="Damker, Herbert" userId="37ff36be-0e4d-42c3-ac06-7b904f0f6b24" providerId="ADAL" clId="{9610C173-2D3E-D34C-812C-51ABDB2614AF}" dt="2024-09-11T10:22:47.256" v="335" actId="478"/>
          <ac:spMkLst>
            <pc:docMk/>
            <pc:sldMk cId="0" sldId="267"/>
            <ac:spMk id="248" creationId="{00000000-0000-0000-0000-000000000000}"/>
          </ac:spMkLst>
        </pc:spChg>
        <pc:spChg chg="del">
          <ac:chgData name="Damker, Herbert" userId="37ff36be-0e4d-42c3-ac06-7b904f0f6b24" providerId="ADAL" clId="{9610C173-2D3E-D34C-812C-51ABDB2614AF}" dt="2024-09-11T10:22:47.256" v="335" actId="478"/>
          <ac:spMkLst>
            <pc:docMk/>
            <pc:sldMk cId="0" sldId="267"/>
            <ac:spMk id="260" creationId="{00000000-0000-0000-0000-000000000000}"/>
          </ac:spMkLst>
        </pc:spChg>
        <pc:spChg chg="mod topLvl">
          <ac:chgData name="Damker, Herbert" userId="37ff36be-0e4d-42c3-ac06-7b904f0f6b24" providerId="ADAL" clId="{9610C173-2D3E-D34C-812C-51ABDB2614AF}" dt="2024-09-11T10:24:47.358" v="361" actId="1076"/>
          <ac:spMkLst>
            <pc:docMk/>
            <pc:sldMk cId="0" sldId="267"/>
            <ac:spMk id="276" creationId="{00000000-0000-0000-0000-000000000000}"/>
          </ac:spMkLst>
        </pc:spChg>
        <pc:spChg chg="mod topLvl">
          <ac:chgData name="Damker, Herbert" userId="37ff36be-0e4d-42c3-ac06-7b904f0f6b24" providerId="ADAL" clId="{9610C173-2D3E-D34C-812C-51ABDB2614AF}" dt="2024-09-11T10:24:47.358" v="361" actId="1076"/>
          <ac:spMkLst>
            <pc:docMk/>
            <pc:sldMk cId="0" sldId="267"/>
            <ac:spMk id="277" creationId="{00000000-0000-0000-0000-000000000000}"/>
          </ac:spMkLst>
        </pc:spChg>
        <pc:spChg chg="mod topLvl">
          <ac:chgData name="Damker, Herbert" userId="37ff36be-0e4d-42c3-ac06-7b904f0f6b24" providerId="ADAL" clId="{9610C173-2D3E-D34C-812C-51ABDB2614AF}" dt="2024-09-11T10:24:47.358" v="361" actId="1076"/>
          <ac:spMkLst>
            <pc:docMk/>
            <pc:sldMk cId="0" sldId="267"/>
            <ac:spMk id="278" creationId="{00000000-0000-0000-0000-000000000000}"/>
          </ac:spMkLst>
        </pc:spChg>
        <pc:spChg chg="mod topLvl">
          <ac:chgData name="Damker, Herbert" userId="37ff36be-0e4d-42c3-ac06-7b904f0f6b24" providerId="ADAL" clId="{9610C173-2D3E-D34C-812C-51ABDB2614AF}" dt="2024-09-11T10:24:47.358" v="361" actId="1076"/>
          <ac:spMkLst>
            <pc:docMk/>
            <pc:sldMk cId="0" sldId="267"/>
            <ac:spMk id="279" creationId="{00000000-0000-0000-0000-000000000000}"/>
          </ac:spMkLst>
        </pc:spChg>
        <pc:spChg chg="mod topLvl">
          <ac:chgData name="Damker, Herbert" userId="37ff36be-0e4d-42c3-ac06-7b904f0f6b24" providerId="ADAL" clId="{9610C173-2D3E-D34C-812C-51ABDB2614AF}" dt="2024-09-11T10:24:47.358" v="361" actId="1076"/>
          <ac:spMkLst>
            <pc:docMk/>
            <pc:sldMk cId="0" sldId="267"/>
            <ac:spMk id="280" creationId="{00000000-0000-0000-0000-000000000000}"/>
          </ac:spMkLst>
        </pc:spChg>
        <pc:spChg chg="mod topLvl">
          <ac:chgData name="Damker, Herbert" userId="37ff36be-0e4d-42c3-ac06-7b904f0f6b24" providerId="ADAL" clId="{9610C173-2D3E-D34C-812C-51ABDB2614AF}" dt="2024-09-11T10:24:47.358" v="361" actId="1076"/>
          <ac:spMkLst>
            <pc:docMk/>
            <pc:sldMk cId="0" sldId="267"/>
            <ac:spMk id="281" creationId="{00000000-0000-0000-0000-000000000000}"/>
          </ac:spMkLst>
        </pc:spChg>
        <pc:spChg chg="del topLvl">
          <ac:chgData name="Damker, Herbert" userId="37ff36be-0e4d-42c3-ac06-7b904f0f6b24" providerId="ADAL" clId="{9610C173-2D3E-D34C-812C-51ABDB2614AF}" dt="2024-09-11T10:23:06.364" v="337" actId="478"/>
          <ac:spMkLst>
            <pc:docMk/>
            <pc:sldMk cId="0" sldId="267"/>
            <ac:spMk id="282" creationId="{00000000-0000-0000-0000-000000000000}"/>
          </ac:spMkLst>
        </pc:spChg>
        <pc:spChg chg="mod topLvl">
          <ac:chgData name="Damker, Herbert" userId="37ff36be-0e4d-42c3-ac06-7b904f0f6b24" providerId="ADAL" clId="{9610C173-2D3E-D34C-812C-51ABDB2614AF}" dt="2024-09-11T10:24:47.358" v="361" actId="1076"/>
          <ac:spMkLst>
            <pc:docMk/>
            <pc:sldMk cId="0" sldId="267"/>
            <ac:spMk id="283" creationId="{00000000-0000-0000-0000-000000000000}"/>
          </ac:spMkLst>
        </pc:spChg>
        <pc:spChg chg="topLvl">
          <ac:chgData name="Damker, Herbert" userId="37ff36be-0e4d-42c3-ac06-7b904f0f6b24" providerId="ADAL" clId="{9610C173-2D3E-D34C-812C-51ABDB2614AF}" dt="2024-09-11T10:22:01.133" v="330" actId="165"/>
          <ac:spMkLst>
            <pc:docMk/>
            <pc:sldMk cId="0" sldId="267"/>
            <ac:spMk id="284" creationId="{00000000-0000-0000-0000-000000000000}"/>
          </ac:spMkLst>
        </pc:spChg>
        <pc:spChg chg="del topLvl">
          <ac:chgData name="Damker, Herbert" userId="37ff36be-0e4d-42c3-ac06-7b904f0f6b24" providerId="ADAL" clId="{9610C173-2D3E-D34C-812C-51ABDB2614AF}" dt="2024-09-11T10:23:18.244" v="339" actId="478"/>
          <ac:spMkLst>
            <pc:docMk/>
            <pc:sldMk cId="0" sldId="267"/>
            <ac:spMk id="286" creationId="{00000000-0000-0000-0000-000000000000}"/>
          </ac:spMkLst>
        </pc:spChg>
        <pc:spChg chg="del topLvl">
          <ac:chgData name="Damker, Herbert" userId="37ff36be-0e4d-42c3-ac06-7b904f0f6b24" providerId="ADAL" clId="{9610C173-2D3E-D34C-812C-51ABDB2614AF}" dt="2024-09-11T10:23:20.566" v="340" actId="478"/>
          <ac:spMkLst>
            <pc:docMk/>
            <pc:sldMk cId="0" sldId="267"/>
            <ac:spMk id="287" creationId="{00000000-0000-0000-0000-000000000000}"/>
          </ac:spMkLst>
        </pc:spChg>
        <pc:spChg chg="del topLvl">
          <ac:chgData name="Damker, Herbert" userId="37ff36be-0e4d-42c3-ac06-7b904f0f6b24" providerId="ADAL" clId="{9610C173-2D3E-D34C-812C-51ABDB2614AF}" dt="2024-09-11T10:23:15.364" v="338" actId="478"/>
          <ac:spMkLst>
            <pc:docMk/>
            <pc:sldMk cId="0" sldId="267"/>
            <ac:spMk id="288" creationId="{00000000-0000-0000-0000-000000000000}"/>
          </ac:spMkLst>
        </pc:spChg>
        <pc:spChg chg="del topLvl">
          <ac:chgData name="Damker, Herbert" userId="37ff36be-0e4d-42c3-ac06-7b904f0f6b24" providerId="ADAL" clId="{9610C173-2D3E-D34C-812C-51ABDB2614AF}" dt="2024-09-11T10:23:22.338" v="341" actId="478"/>
          <ac:spMkLst>
            <pc:docMk/>
            <pc:sldMk cId="0" sldId="267"/>
            <ac:spMk id="289" creationId="{00000000-0000-0000-0000-000000000000}"/>
          </ac:spMkLst>
        </pc:spChg>
        <pc:spChg chg="topLvl">
          <ac:chgData name="Damker, Herbert" userId="37ff36be-0e4d-42c3-ac06-7b904f0f6b24" providerId="ADAL" clId="{9610C173-2D3E-D34C-812C-51ABDB2614AF}" dt="2024-09-11T10:22:10.424" v="331" actId="165"/>
          <ac:spMkLst>
            <pc:docMk/>
            <pc:sldMk cId="0" sldId="267"/>
            <ac:spMk id="290" creationId="{00000000-0000-0000-0000-000000000000}"/>
          </ac:spMkLst>
        </pc:spChg>
        <pc:spChg chg="topLvl">
          <ac:chgData name="Damker, Herbert" userId="37ff36be-0e4d-42c3-ac06-7b904f0f6b24" providerId="ADAL" clId="{9610C173-2D3E-D34C-812C-51ABDB2614AF}" dt="2024-09-11T10:22:10.424" v="331" actId="165"/>
          <ac:spMkLst>
            <pc:docMk/>
            <pc:sldMk cId="0" sldId="267"/>
            <ac:spMk id="291" creationId="{00000000-0000-0000-0000-000000000000}"/>
          </ac:spMkLst>
        </pc:spChg>
        <pc:spChg chg="mod topLvl">
          <ac:chgData name="Damker, Herbert" userId="37ff36be-0e4d-42c3-ac06-7b904f0f6b24" providerId="ADAL" clId="{9610C173-2D3E-D34C-812C-51ABDB2614AF}" dt="2024-09-11T10:23:35.915" v="347" actId="20577"/>
          <ac:spMkLst>
            <pc:docMk/>
            <pc:sldMk cId="0" sldId="267"/>
            <ac:spMk id="292" creationId="{00000000-0000-0000-0000-000000000000}"/>
          </ac:spMkLst>
        </pc:spChg>
        <pc:spChg chg="topLvl">
          <ac:chgData name="Damker, Herbert" userId="37ff36be-0e4d-42c3-ac06-7b904f0f6b24" providerId="ADAL" clId="{9610C173-2D3E-D34C-812C-51ABDB2614AF}" dt="2024-09-11T10:22:10.424" v="331" actId="165"/>
          <ac:spMkLst>
            <pc:docMk/>
            <pc:sldMk cId="0" sldId="267"/>
            <ac:spMk id="293" creationId="{00000000-0000-0000-0000-000000000000}"/>
          </ac:spMkLst>
        </pc:spChg>
        <pc:spChg chg="del">
          <ac:chgData name="Damker, Herbert" userId="37ff36be-0e4d-42c3-ac06-7b904f0f6b24" providerId="ADAL" clId="{9610C173-2D3E-D34C-812C-51ABDB2614AF}" dt="2024-09-11T10:22:34.264" v="332" actId="478"/>
          <ac:spMkLst>
            <pc:docMk/>
            <pc:sldMk cId="0" sldId="267"/>
            <ac:spMk id="297" creationId="{00000000-0000-0000-0000-000000000000}"/>
          </ac:spMkLst>
        </pc:spChg>
        <pc:spChg chg="mod">
          <ac:chgData name="Damker, Herbert" userId="37ff36be-0e4d-42c3-ac06-7b904f0f6b24" providerId="ADAL" clId="{9610C173-2D3E-D34C-812C-51ABDB2614AF}" dt="2024-09-11T10:24:23.641" v="360" actId="313"/>
          <ac:spMkLst>
            <pc:docMk/>
            <pc:sldMk cId="0" sldId="267"/>
            <ac:spMk id="299" creationId="{00000000-0000-0000-0000-000000000000}"/>
          </ac:spMkLst>
        </pc:spChg>
        <pc:spChg chg="mod">
          <ac:chgData name="Damker, Herbert" userId="37ff36be-0e4d-42c3-ac06-7b904f0f6b24" providerId="ADAL" clId="{9610C173-2D3E-D34C-812C-51ABDB2614AF}" dt="2024-09-11T10:24:47.358" v="361" actId="1076"/>
          <ac:spMkLst>
            <pc:docMk/>
            <pc:sldMk cId="0" sldId="267"/>
            <ac:spMk id="300" creationId="{00000000-0000-0000-0000-000000000000}"/>
          </ac:spMkLst>
        </pc:spChg>
        <pc:grpChg chg="del">
          <ac:chgData name="Damker, Herbert" userId="37ff36be-0e4d-42c3-ac06-7b904f0f6b24" providerId="ADAL" clId="{9610C173-2D3E-D34C-812C-51ABDB2614AF}" dt="2024-09-11T10:22:47.256" v="335" actId="478"/>
          <ac:grpSpMkLst>
            <pc:docMk/>
            <pc:sldMk cId="0" sldId="267"/>
            <ac:grpSpMk id="252" creationId="{00000000-0000-0000-0000-000000000000}"/>
          </ac:grpSpMkLst>
        </pc:grpChg>
        <pc:grpChg chg="del">
          <ac:chgData name="Damker, Herbert" userId="37ff36be-0e4d-42c3-ac06-7b904f0f6b24" providerId="ADAL" clId="{9610C173-2D3E-D34C-812C-51ABDB2614AF}" dt="2024-09-11T10:22:47.256" v="335" actId="478"/>
          <ac:grpSpMkLst>
            <pc:docMk/>
            <pc:sldMk cId="0" sldId="267"/>
            <ac:grpSpMk id="257" creationId="{00000000-0000-0000-0000-000000000000}"/>
          </ac:grpSpMkLst>
        </pc:grpChg>
        <pc:grpChg chg="del">
          <ac:chgData name="Damker, Herbert" userId="37ff36be-0e4d-42c3-ac06-7b904f0f6b24" providerId="ADAL" clId="{9610C173-2D3E-D34C-812C-51ABDB2614AF}" dt="2024-09-11T10:22:47.256" v="335" actId="478"/>
          <ac:grpSpMkLst>
            <pc:docMk/>
            <pc:sldMk cId="0" sldId="267"/>
            <ac:grpSpMk id="262" creationId="{00000000-0000-0000-0000-000000000000}"/>
          </ac:grpSpMkLst>
        </pc:grpChg>
        <pc:grpChg chg="del">
          <ac:chgData name="Damker, Herbert" userId="37ff36be-0e4d-42c3-ac06-7b904f0f6b24" providerId="ADAL" clId="{9610C173-2D3E-D34C-812C-51ABDB2614AF}" dt="2024-09-11T10:22:47.256" v="335" actId="478"/>
          <ac:grpSpMkLst>
            <pc:docMk/>
            <pc:sldMk cId="0" sldId="267"/>
            <ac:grpSpMk id="265" creationId="{00000000-0000-0000-0000-000000000000}"/>
          </ac:grpSpMkLst>
        </pc:grpChg>
        <pc:grpChg chg="del">
          <ac:chgData name="Damker, Herbert" userId="37ff36be-0e4d-42c3-ac06-7b904f0f6b24" providerId="ADAL" clId="{9610C173-2D3E-D34C-812C-51ABDB2614AF}" dt="2024-09-11T10:22:47.256" v="335" actId="478"/>
          <ac:grpSpMkLst>
            <pc:docMk/>
            <pc:sldMk cId="0" sldId="267"/>
            <ac:grpSpMk id="268" creationId="{00000000-0000-0000-0000-000000000000}"/>
          </ac:grpSpMkLst>
        </pc:grpChg>
        <pc:grpChg chg="del">
          <ac:chgData name="Damker, Herbert" userId="37ff36be-0e4d-42c3-ac06-7b904f0f6b24" providerId="ADAL" clId="{9610C173-2D3E-D34C-812C-51ABDB2614AF}" dt="2024-09-11T10:22:47.256" v="335" actId="478"/>
          <ac:grpSpMkLst>
            <pc:docMk/>
            <pc:sldMk cId="0" sldId="267"/>
            <ac:grpSpMk id="271" creationId="{00000000-0000-0000-0000-000000000000}"/>
          </ac:grpSpMkLst>
        </pc:grpChg>
        <pc:grpChg chg="del">
          <ac:chgData name="Damker, Herbert" userId="37ff36be-0e4d-42c3-ac06-7b904f0f6b24" providerId="ADAL" clId="{9610C173-2D3E-D34C-812C-51ABDB2614AF}" dt="2024-09-11T10:22:01.133" v="330" actId="165"/>
          <ac:grpSpMkLst>
            <pc:docMk/>
            <pc:sldMk cId="0" sldId="267"/>
            <ac:grpSpMk id="275" creationId="{00000000-0000-0000-0000-000000000000}"/>
          </ac:grpSpMkLst>
        </pc:grpChg>
        <pc:grpChg chg="del">
          <ac:chgData name="Damker, Herbert" userId="37ff36be-0e4d-42c3-ac06-7b904f0f6b24" providerId="ADAL" clId="{9610C173-2D3E-D34C-812C-51ABDB2614AF}" dt="2024-09-11T10:22:10.424" v="331" actId="165"/>
          <ac:grpSpMkLst>
            <pc:docMk/>
            <pc:sldMk cId="0" sldId="267"/>
            <ac:grpSpMk id="285" creationId="{00000000-0000-0000-0000-000000000000}"/>
          </ac:grpSpMkLst>
        </pc:grpChg>
        <pc:picChg chg="del">
          <ac:chgData name="Damker, Herbert" userId="37ff36be-0e4d-42c3-ac06-7b904f0f6b24" providerId="ADAL" clId="{9610C173-2D3E-D34C-812C-51ABDB2614AF}" dt="2024-09-11T10:22:47.256" v="335" actId="478"/>
          <ac:picMkLst>
            <pc:docMk/>
            <pc:sldMk cId="0" sldId="267"/>
            <ac:picMk id="249" creationId="{00000000-0000-0000-0000-000000000000}"/>
          </ac:picMkLst>
        </pc:picChg>
        <pc:picChg chg="del">
          <ac:chgData name="Damker, Herbert" userId="37ff36be-0e4d-42c3-ac06-7b904f0f6b24" providerId="ADAL" clId="{9610C173-2D3E-D34C-812C-51ABDB2614AF}" dt="2024-09-11T10:22:38.029" v="333" actId="478"/>
          <ac:picMkLst>
            <pc:docMk/>
            <pc:sldMk cId="0" sldId="267"/>
            <ac:picMk id="250" creationId="{00000000-0000-0000-0000-000000000000}"/>
          </ac:picMkLst>
        </pc:picChg>
        <pc:picChg chg="del">
          <ac:chgData name="Damker, Herbert" userId="37ff36be-0e4d-42c3-ac06-7b904f0f6b24" providerId="ADAL" clId="{9610C173-2D3E-D34C-812C-51ABDB2614AF}" dt="2024-09-11T10:22:47.256" v="335" actId="478"/>
          <ac:picMkLst>
            <pc:docMk/>
            <pc:sldMk cId="0" sldId="267"/>
            <ac:picMk id="251" creationId="{00000000-0000-0000-0000-000000000000}"/>
          </ac:picMkLst>
        </pc:picChg>
        <pc:picChg chg="del">
          <ac:chgData name="Damker, Herbert" userId="37ff36be-0e4d-42c3-ac06-7b904f0f6b24" providerId="ADAL" clId="{9610C173-2D3E-D34C-812C-51ABDB2614AF}" dt="2024-09-11T10:22:47.256" v="335" actId="478"/>
          <ac:picMkLst>
            <pc:docMk/>
            <pc:sldMk cId="0" sldId="267"/>
            <ac:picMk id="256" creationId="{00000000-0000-0000-0000-000000000000}"/>
          </ac:picMkLst>
        </pc:picChg>
        <pc:picChg chg="del">
          <ac:chgData name="Damker, Herbert" userId="37ff36be-0e4d-42c3-ac06-7b904f0f6b24" providerId="ADAL" clId="{9610C173-2D3E-D34C-812C-51ABDB2614AF}" dt="2024-09-11T10:22:47.256" v="335" actId="478"/>
          <ac:picMkLst>
            <pc:docMk/>
            <pc:sldMk cId="0" sldId="267"/>
            <ac:picMk id="261" creationId="{00000000-0000-0000-0000-000000000000}"/>
          </ac:picMkLst>
        </pc:picChg>
      </pc:sldChg>
      <pc:sldChg chg="modSp mod">
        <pc:chgData name="Damker, Herbert" userId="37ff36be-0e4d-42c3-ac06-7b904f0f6b24" providerId="ADAL" clId="{9610C173-2D3E-D34C-812C-51ABDB2614AF}" dt="2024-09-13T06:45:09.660" v="2706" actId="20577"/>
        <pc:sldMkLst>
          <pc:docMk/>
          <pc:sldMk cId="1652484770" sldId="2044"/>
        </pc:sldMkLst>
        <pc:spChg chg="mod">
          <ac:chgData name="Damker, Herbert" userId="37ff36be-0e4d-42c3-ac06-7b904f0f6b24" providerId="ADAL" clId="{9610C173-2D3E-D34C-812C-51ABDB2614AF}" dt="2024-09-13T06:45:09.660" v="2706" actId="20577"/>
          <ac:spMkLst>
            <pc:docMk/>
            <pc:sldMk cId="1652484770" sldId="2044"/>
            <ac:spMk id="7" creationId="{C1CBEC6C-A35E-B413-C2F0-A045C556DBD2}"/>
          </ac:spMkLst>
        </pc:spChg>
      </pc:sldChg>
      <pc:sldChg chg="modSp mod modShow">
        <pc:chgData name="Damker, Herbert" userId="37ff36be-0e4d-42c3-ac06-7b904f0f6b24" providerId="ADAL" clId="{9610C173-2D3E-D34C-812C-51ABDB2614AF}" dt="2024-09-11T18:28:35.389" v="2425" actId="20577"/>
        <pc:sldMkLst>
          <pc:docMk/>
          <pc:sldMk cId="2554634852" sldId="2046"/>
        </pc:sldMkLst>
        <pc:spChg chg="mod">
          <ac:chgData name="Damker, Herbert" userId="37ff36be-0e4d-42c3-ac06-7b904f0f6b24" providerId="ADAL" clId="{9610C173-2D3E-D34C-812C-51ABDB2614AF}" dt="2024-09-11T18:28:35.389" v="2425" actId="20577"/>
          <ac:spMkLst>
            <pc:docMk/>
            <pc:sldMk cId="2554634852" sldId="2046"/>
            <ac:spMk id="2" creationId="{DCB1F54D-C5B3-1C9E-B1B9-58665FD90C96}"/>
          </ac:spMkLst>
        </pc:spChg>
        <pc:spChg chg="mod">
          <ac:chgData name="Damker, Herbert" userId="37ff36be-0e4d-42c3-ac06-7b904f0f6b24" providerId="ADAL" clId="{9610C173-2D3E-D34C-812C-51ABDB2614AF}" dt="2024-09-11T17:07:33.280" v="2190" actId="20577"/>
          <ac:spMkLst>
            <pc:docMk/>
            <pc:sldMk cId="2554634852" sldId="2046"/>
            <ac:spMk id="6" creationId="{AA1587CF-E9D0-F431-5DFC-892BB418E456}"/>
          </ac:spMkLst>
        </pc:spChg>
      </pc:sldChg>
      <pc:sldChg chg="modSp mod">
        <pc:chgData name="Damker, Herbert" userId="37ff36be-0e4d-42c3-ac06-7b904f0f6b24" providerId="ADAL" clId="{9610C173-2D3E-D34C-812C-51ABDB2614AF}" dt="2024-09-13T06:43:44.627" v="2694" actId="20577"/>
        <pc:sldMkLst>
          <pc:docMk/>
          <pc:sldMk cId="3521829536" sldId="2047"/>
        </pc:sldMkLst>
        <pc:spChg chg="mod">
          <ac:chgData name="Damker, Herbert" userId="37ff36be-0e4d-42c3-ac06-7b904f0f6b24" providerId="ADAL" clId="{9610C173-2D3E-D34C-812C-51ABDB2614AF}" dt="2024-09-12T16:11:10.987" v="2639" actId="20577"/>
          <ac:spMkLst>
            <pc:docMk/>
            <pc:sldMk cId="3521829536" sldId="2047"/>
            <ac:spMk id="24" creationId="{457FB6AF-23BA-4E2A-3205-41696333795B}"/>
          </ac:spMkLst>
        </pc:spChg>
        <pc:spChg chg="mod">
          <ac:chgData name="Damker, Herbert" userId="37ff36be-0e4d-42c3-ac06-7b904f0f6b24" providerId="ADAL" clId="{9610C173-2D3E-D34C-812C-51ABDB2614AF}" dt="2024-09-12T16:11:18.336" v="2641" actId="20577"/>
          <ac:spMkLst>
            <pc:docMk/>
            <pc:sldMk cId="3521829536" sldId="2047"/>
            <ac:spMk id="25" creationId="{57470043-71CC-3149-A9FB-2552870F7428}"/>
          </ac:spMkLst>
        </pc:spChg>
        <pc:spChg chg="mod">
          <ac:chgData name="Damker, Herbert" userId="37ff36be-0e4d-42c3-ac06-7b904f0f6b24" providerId="ADAL" clId="{9610C173-2D3E-D34C-812C-51ABDB2614AF}" dt="2024-09-13T06:43:13.081" v="2690" actId="20577"/>
          <ac:spMkLst>
            <pc:docMk/>
            <pc:sldMk cId="3521829536" sldId="2047"/>
            <ac:spMk id="26" creationId="{4D69F33A-2FDD-EB69-3D6C-5FAA30C00DE4}"/>
          </ac:spMkLst>
        </pc:spChg>
        <pc:spChg chg="mod">
          <ac:chgData name="Damker, Herbert" userId="37ff36be-0e4d-42c3-ac06-7b904f0f6b24" providerId="ADAL" clId="{9610C173-2D3E-D34C-812C-51ABDB2614AF}" dt="2024-09-13T06:43:06.998" v="2688" actId="27636"/>
          <ac:spMkLst>
            <pc:docMk/>
            <pc:sldMk cId="3521829536" sldId="2047"/>
            <ac:spMk id="28" creationId="{3F787300-12EB-F33E-E211-464670F48C1B}"/>
          </ac:spMkLst>
        </pc:spChg>
        <pc:spChg chg="mod">
          <ac:chgData name="Damker, Herbert" userId="37ff36be-0e4d-42c3-ac06-7b904f0f6b24" providerId="ADAL" clId="{9610C173-2D3E-D34C-812C-51ABDB2614AF}" dt="2024-09-12T16:11:25.686" v="2643" actId="20577"/>
          <ac:spMkLst>
            <pc:docMk/>
            <pc:sldMk cId="3521829536" sldId="2047"/>
            <ac:spMk id="29" creationId="{1EBFE74D-5D26-51EA-D7B0-48CA02E879CC}"/>
          </ac:spMkLst>
        </pc:spChg>
        <pc:spChg chg="mod">
          <ac:chgData name="Damker, Herbert" userId="37ff36be-0e4d-42c3-ac06-7b904f0f6b24" providerId="ADAL" clId="{9610C173-2D3E-D34C-812C-51ABDB2614AF}" dt="2024-09-12T16:11:01.672" v="2637" actId="20577"/>
          <ac:spMkLst>
            <pc:docMk/>
            <pc:sldMk cId="3521829536" sldId="2047"/>
            <ac:spMk id="30" creationId="{4A5D9DD3-B0F8-6F68-5D64-5D4B708FD3F9}"/>
          </ac:spMkLst>
        </pc:spChg>
        <pc:spChg chg="mod">
          <ac:chgData name="Damker, Herbert" userId="37ff36be-0e4d-42c3-ac06-7b904f0f6b24" providerId="ADAL" clId="{9610C173-2D3E-D34C-812C-51ABDB2614AF}" dt="2024-09-12T16:12:04.597" v="2655" actId="20577"/>
          <ac:spMkLst>
            <pc:docMk/>
            <pc:sldMk cId="3521829536" sldId="2047"/>
            <ac:spMk id="55" creationId="{330469DB-3A79-0753-96EE-139274EF3C86}"/>
          </ac:spMkLst>
        </pc:spChg>
        <pc:spChg chg="mod">
          <ac:chgData name="Damker, Herbert" userId="37ff36be-0e4d-42c3-ac06-7b904f0f6b24" providerId="ADAL" clId="{9610C173-2D3E-D34C-812C-51ABDB2614AF}" dt="2024-09-12T16:12:09.129" v="2657" actId="20577"/>
          <ac:spMkLst>
            <pc:docMk/>
            <pc:sldMk cId="3521829536" sldId="2047"/>
            <ac:spMk id="57" creationId="{B46FAFD5-922B-DDC9-C680-1273ED85BB12}"/>
          </ac:spMkLst>
        </pc:spChg>
        <pc:spChg chg="mod">
          <ac:chgData name="Damker, Herbert" userId="37ff36be-0e4d-42c3-ac06-7b904f0f6b24" providerId="ADAL" clId="{9610C173-2D3E-D34C-812C-51ABDB2614AF}" dt="2024-09-12T16:10:58.357" v="2635" actId="20577"/>
          <ac:spMkLst>
            <pc:docMk/>
            <pc:sldMk cId="3521829536" sldId="2047"/>
            <ac:spMk id="58" creationId="{61CB04CB-8F62-E8C8-8A05-6FDDF7E257BC}"/>
          </ac:spMkLst>
        </pc:spChg>
        <pc:spChg chg="mod">
          <ac:chgData name="Damker, Herbert" userId="37ff36be-0e4d-42c3-ac06-7b904f0f6b24" providerId="ADAL" clId="{9610C173-2D3E-D34C-812C-51ABDB2614AF}" dt="2024-09-12T16:10:30.381" v="2623" actId="20577"/>
          <ac:spMkLst>
            <pc:docMk/>
            <pc:sldMk cId="3521829536" sldId="2047"/>
            <ac:spMk id="60" creationId="{CFDEFEAE-2D07-E525-9907-10D7D2070E66}"/>
          </ac:spMkLst>
        </pc:spChg>
        <pc:spChg chg="mod">
          <ac:chgData name="Damker, Herbert" userId="37ff36be-0e4d-42c3-ac06-7b904f0f6b24" providerId="ADAL" clId="{9610C173-2D3E-D34C-812C-51ABDB2614AF}" dt="2024-09-13T06:43:40.090" v="2692" actId="20577"/>
          <ac:spMkLst>
            <pc:docMk/>
            <pc:sldMk cId="3521829536" sldId="2047"/>
            <ac:spMk id="61" creationId="{EFA2E92E-5CCC-481F-CDE7-EA0595DD343F}"/>
          </ac:spMkLst>
        </pc:spChg>
        <pc:spChg chg="mod">
          <ac:chgData name="Damker, Herbert" userId="37ff36be-0e4d-42c3-ac06-7b904f0f6b24" providerId="ADAL" clId="{9610C173-2D3E-D34C-812C-51ABDB2614AF}" dt="2024-09-13T06:43:44.627" v="2694" actId="20577"/>
          <ac:spMkLst>
            <pc:docMk/>
            <pc:sldMk cId="3521829536" sldId="2047"/>
            <ac:spMk id="62" creationId="{760D0372-935B-4706-05C8-2A4FEAE5750D}"/>
          </ac:spMkLst>
        </pc:spChg>
        <pc:spChg chg="mod">
          <ac:chgData name="Damker, Herbert" userId="37ff36be-0e4d-42c3-ac06-7b904f0f6b24" providerId="ADAL" clId="{9610C173-2D3E-D34C-812C-51ABDB2614AF}" dt="2024-09-12T16:08:41.321" v="2599" actId="20577"/>
          <ac:spMkLst>
            <pc:docMk/>
            <pc:sldMk cId="3521829536" sldId="2047"/>
            <ac:spMk id="65" creationId="{396C2282-2D19-1783-A87D-9A51D93A22B8}"/>
          </ac:spMkLst>
        </pc:spChg>
        <pc:spChg chg="mod">
          <ac:chgData name="Damker, Herbert" userId="37ff36be-0e4d-42c3-ac06-7b904f0f6b24" providerId="ADAL" clId="{9610C173-2D3E-D34C-812C-51ABDB2614AF}" dt="2024-09-11T16:58:35.971" v="2026" actId="790"/>
          <ac:spMkLst>
            <pc:docMk/>
            <pc:sldMk cId="3521829536" sldId="2047"/>
            <ac:spMk id="66" creationId="{447DA647-A028-FFAE-B0AA-6E3EF6DFCF4E}"/>
          </ac:spMkLst>
        </pc:spChg>
      </pc:sldChg>
      <pc:sldChg chg="addSp delSp modSp mod">
        <pc:chgData name="Damker, Herbert" userId="37ff36be-0e4d-42c3-ac06-7b904f0f6b24" providerId="ADAL" clId="{9610C173-2D3E-D34C-812C-51ABDB2614AF}" dt="2024-09-11T18:18:16.606" v="2335" actId="20577"/>
        <pc:sldMkLst>
          <pc:docMk/>
          <pc:sldMk cId="1138970128" sldId="2079"/>
        </pc:sldMkLst>
        <pc:spChg chg="mod">
          <ac:chgData name="Damker, Herbert" userId="37ff36be-0e4d-42c3-ac06-7b904f0f6b24" providerId="ADAL" clId="{9610C173-2D3E-D34C-812C-51ABDB2614AF}" dt="2024-09-11T17:04:17.828" v="2167" actId="20577"/>
          <ac:spMkLst>
            <pc:docMk/>
            <pc:sldMk cId="1138970128" sldId="2079"/>
            <ac:spMk id="2" creationId="{EA844B96-4617-6CFA-EAEC-D21F719C3028}"/>
          </ac:spMkLst>
        </pc:spChg>
        <pc:spChg chg="add del mod">
          <ac:chgData name="Damker, Herbert" userId="37ff36be-0e4d-42c3-ac06-7b904f0f6b24" providerId="ADAL" clId="{9610C173-2D3E-D34C-812C-51ABDB2614AF}" dt="2024-09-10T10:23:46.885" v="59" actId="478"/>
          <ac:spMkLst>
            <pc:docMk/>
            <pc:sldMk cId="1138970128" sldId="2079"/>
            <ac:spMk id="3" creationId="{9F8D4DB2-BFA9-3545-8B05-720D39B3DCA7}"/>
          </ac:spMkLst>
        </pc:spChg>
        <pc:spChg chg="mod">
          <ac:chgData name="Damker, Herbert" userId="37ff36be-0e4d-42c3-ac06-7b904f0f6b24" providerId="ADAL" clId="{9610C173-2D3E-D34C-812C-51ABDB2614AF}" dt="2024-09-11T18:17:48.594" v="2325" actId="20577"/>
          <ac:spMkLst>
            <pc:docMk/>
            <pc:sldMk cId="1138970128" sldId="2079"/>
            <ac:spMk id="5" creationId="{0D4883A3-A1A1-19F4-F6D1-A778C631BB5B}"/>
          </ac:spMkLst>
        </pc:spChg>
        <pc:spChg chg="mod">
          <ac:chgData name="Damker, Herbert" userId="37ff36be-0e4d-42c3-ac06-7b904f0f6b24" providerId="ADAL" clId="{9610C173-2D3E-D34C-812C-51ABDB2614AF}" dt="2024-09-11T18:18:16.606" v="2335" actId="20577"/>
          <ac:spMkLst>
            <pc:docMk/>
            <pc:sldMk cId="1138970128" sldId="2079"/>
            <ac:spMk id="6" creationId="{8B8BDE50-DBCD-C13E-5A44-850AF94136F6}"/>
          </ac:spMkLst>
        </pc:spChg>
        <pc:spChg chg="topLvl">
          <ac:chgData name="Damker, Herbert" userId="37ff36be-0e4d-42c3-ac06-7b904f0f6b24" providerId="ADAL" clId="{9610C173-2D3E-D34C-812C-51ABDB2614AF}" dt="2024-09-10T10:22:39.090" v="58" actId="165"/>
          <ac:spMkLst>
            <pc:docMk/>
            <pc:sldMk cId="1138970128" sldId="2079"/>
            <ac:spMk id="7" creationId="{DF5788E0-9696-D042-3626-75CB7E4BCB68}"/>
          </ac:spMkLst>
        </pc:spChg>
        <pc:spChg chg="topLvl">
          <ac:chgData name="Damker, Herbert" userId="37ff36be-0e4d-42c3-ac06-7b904f0f6b24" providerId="ADAL" clId="{9610C173-2D3E-D34C-812C-51ABDB2614AF}" dt="2024-09-10T10:22:39.090" v="58" actId="165"/>
          <ac:spMkLst>
            <pc:docMk/>
            <pc:sldMk cId="1138970128" sldId="2079"/>
            <ac:spMk id="9" creationId="{FA084CFF-839E-FB28-5A08-AF38860E2D76}"/>
          </ac:spMkLst>
        </pc:spChg>
        <pc:spChg chg="add del mod">
          <ac:chgData name="Damker, Herbert" userId="37ff36be-0e4d-42c3-ac06-7b904f0f6b24" providerId="ADAL" clId="{9610C173-2D3E-D34C-812C-51ABDB2614AF}" dt="2024-09-10T10:23:46.885" v="59" actId="478"/>
          <ac:spMkLst>
            <pc:docMk/>
            <pc:sldMk cId="1138970128" sldId="2079"/>
            <ac:spMk id="11" creationId="{9E06F0D5-2761-CA60-80CD-ECEF920A12AC}"/>
          </ac:spMkLst>
        </pc:spChg>
        <pc:spChg chg="topLvl">
          <ac:chgData name="Damker, Herbert" userId="37ff36be-0e4d-42c3-ac06-7b904f0f6b24" providerId="ADAL" clId="{9610C173-2D3E-D34C-812C-51ABDB2614AF}" dt="2024-09-10T10:22:39.090" v="58" actId="165"/>
          <ac:spMkLst>
            <pc:docMk/>
            <pc:sldMk cId="1138970128" sldId="2079"/>
            <ac:spMk id="16" creationId="{8CA72000-0E24-046C-7751-E3141B6F3DD0}"/>
          </ac:spMkLst>
        </pc:spChg>
        <pc:spChg chg="add del mod">
          <ac:chgData name="Damker, Herbert" userId="37ff36be-0e4d-42c3-ac06-7b904f0f6b24" providerId="ADAL" clId="{9610C173-2D3E-D34C-812C-51ABDB2614AF}" dt="2024-09-10T10:23:46.885" v="59" actId="478"/>
          <ac:spMkLst>
            <pc:docMk/>
            <pc:sldMk cId="1138970128" sldId="2079"/>
            <ac:spMk id="37" creationId="{6D25BAC6-A130-971A-D7FD-6743AD07D2F4}"/>
          </ac:spMkLst>
        </pc:spChg>
        <pc:spChg chg="add del mod topLvl">
          <ac:chgData name="Damker, Herbert" userId="37ff36be-0e4d-42c3-ac06-7b904f0f6b24" providerId="ADAL" clId="{9610C173-2D3E-D34C-812C-51ABDB2614AF}" dt="2024-09-10T10:23:46.885" v="59" actId="478"/>
          <ac:spMkLst>
            <pc:docMk/>
            <pc:sldMk cId="1138970128" sldId="2079"/>
            <ac:spMk id="38" creationId="{D9B0BD49-66D2-82B5-1F7F-DD53F40397AC}"/>
          </ac:spMkLst>
        </pc:spChg>
        <pc:spChg chg="add del mod topLvl">
          <ac:chgData name="Damker, Herbert" userId="37ff36be-0e4d-42c3-ac06-7b904f0f6b24" providerId="ADAL" clId="{9610C173-2D3E-D34C-812C-51ABDB2614AF}" dt="2024-09-10T10:23:46.885" v="59" actId="478"/>
          <ac:spMkLst>
            <pc:docMk/>
            <pc:sldMk cId="1138970128" sldId="2079"/>
            <ac:spMk id="39" creationId="{9380C62E-E7AC-95A9-4D14-2AE396F918AE}"/>
          </ac:spMkLst>
        </pc:spChg>
        <pc:spChg chg="add del mod">
          <ac:chgData name="Damker, Herbert" userId="37ff36be-0e4d-42c3-ac06-7b904f0f6b24" providerId="ADAL" clId="{9610C173-2D3E-D34C-812C-51ABDB2614AF}" dt="2024-09-10T10:22:01.406" v="55" actId="478"/>
          <ac:spMkLst>
            <pc:docMk/>
            <pc:sldMk cId="1138970128" sldId="2079"/>
            <ac:spMk id="46" creationId="{A0E6D813-B50C-F977-CE30-EF78FF15A546}"/>
          </ac:spMkLst>
        </pc:spChg>
        <pc:spChg chg="add del mod">
          <ac:chgData name="Damker, Herbert" userId="37ff36be-0e4d-42c3-ac06-7b904f0f6b24" providerId="ADAL" clId="{9610C173-2D3E-D34C-812C-51ABDB2614AF}" dt="2024-09-10T10:22:01.406" v="55" actId="478"/>
          <ac:spMkLst>
            <pc:docMk/>
            <pc:sldMk cId="1138970128" sldId="2079"/>
            <ac:spMk id="47" creationId="{7C3E5F64-F0CB-421E-1A2F-CA2C57BC5C09}"/>
          </ac:spMkLst>
        </pc:spChg>
        <pc:spChg chg="add del mod">
          <ac:chgData name="Damker, Herbert" userId="37ff36be-0e4d-42c3-ac06-7b904f0f6b24" providerId="ADAL" clId="{9610C173-2D3E-D34C-812C-51ABDB2614AF}" dt="2024-09-10T10:22:01.406" v="55" actId="478"/>
          <ac:spMkLst>
            <pc:docMk/>
            <pc:sldMk cId="1138970128" sldId="2079"/>
            <ac:spMk id="48" creationId="{12EC1467-171F-4C10-C373-4E54D9BE8459}"/>
          </ac:spMkLst>
        </pc:spChg>
        <pc:spChg chg="add del mod">
          <ac:chgData name="Damker, Herbert" userId="37ff36be-0e4d-42c3-ac06-7b904f0f6b24" providerId="ADAL" clId="{9610C173-2D3E-D34C-812C-51ABDB2614AF}" dt="2024-09-10T10:22:25.977" v="57" actId="478"/>
          <ac:spMkLst>
            <pc:docMk/>
            <pc:sldMk cId="1138970128" sldId="2079"/>
            <ac:spMk id="49" creationId="{CD9BC759-8904-1405-F845-30FEA75095CF}"/>
          </ac:spMkLst>
        </pc:spChg>
        <pc:spChg chg="mod">
          <ac:chgData name="Damker, Herbert" userId="37ff36be-0e4d-42c3-ac06-7b904f0f6b24" providerId="ADAL" clId="{9610C173-2D3E-D34C-812C-51ABDB2614AF}" dt="2024-09-11T18:17:25.460" v="2302" actId="20577"/>
          <ac:spMkLst>
            <pc:docMk/>
            <pc:sldMk cId="1138970128" sldId="2079"/>
            <ac:spMk id="112" creationId="{F5699472-2A00-0858-91FC-5780692288D3}"/>
          </ac:spMkLst>
        </pc:spChg>
        <pc:grpChg chg="topLvl">
          <ac:chgData name="Damker, Herbert" userId="37ff36be-0e4d-42c3-ac06-7b904f0f6b24" providerId="ADAL" clId="{9610C173-2D3E-D34C-812C-51ABDB2614AF}" dt="2024-09-10T10:22:39.090" v="58" actId="165"/>
          <ac:grpSpMkLst>
            <pc:docMk/>
            <pc:sldMk cId="1138970128" sldId="2079"/>
            <ac:grpSpMk id="21" creationId="{33E322A5-F13E-ED96-165C-B50BABE9C653}"/>
          </ac:grpSpMkLst>
        </pc:grpChg>
        <pc:grpChg chg="topLvl">
          <ac:chgData name="Damker, Herbert" userId="37ff36be-0e4d-42c3-ac06-7b904f0f6b24" providerId="ADAL" clId="{9610C173-2D3E-D34C-812C-51ABDB2614AF}" dt="2024-09-10T10:22:39.090" v="58" actId="165"/>
          <ac:grpSpMkLst>
            <pc:docMk/>
            <pc:sldMk cId="1138970128" sldId="2079"/>
            <ac:grpSpMk id="31" creationId="{414E94EC-AD33-63AB-FA32-A5B4E5185B52}"/>
          </ac:grpSpMkLst>
        </pc:grpChg>
        <pc:grpChg chg="add del">
          <ac:chgData name="Damker, Herbert" userId="37ff36be-0e4d-42c3-ac06-7b904f0f6b24" providerId="ADAL" clId="{9610C173-2D3E-D34C-812C-51ABDB2614AF}" dt="2024-09-10T10:22:39.090" v="58" actId="165"/>
          <ac:grpSpMkLst>
            <pc:docMk/>
            <pc:sldMk cId="1138970128" sldId="2079"/>
            <ac:grpSpMk id="44" creationId="{2A1941C3-10F9-6B13-DBC9-13CFBCAC3215}"/>
          </ac:grpSpMkLst>
        </pc:grpChg>
        <pc:grpChg chg="add del">
          <ac:chgData name="Damker, Herbert" userId="37ff36be-0e4d-42c3-ac06-7b904f0f6b24" providerId="ADAL" clId="{9610C173-2D3E-D34C-812C-51ABDB2614AF}" dt="2024-09-10T10:22:39.090" v="58" actId="165"/>
          <ac:grpSpMkLst>
            <pc:docMk/>
            <pc:sldMk cId="1138970128" sldId="2079"/>
            <ac:grpSpMk id="45" creationId="{C4732C53-AD13-8592-0F71-27D0D875E1FF}"/>
          </ac:grpSpMkLst>
        </pc:grpChg>
        <pc:grpChg chg="del">
          <ac:chgData name="Damker, Herbert" userId="37ff36be-0e4d-42c3-ac06-7b904f0f6b24" providerId="ADAL" clId="{9610C173-2D3E-D34C-812C-51ABDB2614AF}" dt="2024-09-10T10:22:39.090" v="58" actId="165"/>
          <ac:grpSpMkLst>
            <pc:docMk/>
            <pc:sldMk cId="1138970128" sldId="2079"/>
            <ac:grpSpMk id="86" creationId="{6D4FBF23-FCFF-D2A4-B238-D5297EB23EF6}"/>
          </ac:grpSpMkLst>
        </pc:grpChg>
        <pc:grpChg chg="mod topLvl">
          <ac:chgData name="Damker, Herbert" userId="37ff36be-0e4d-42c3-ac06-7b904f0f6b24" providerId="ADAL" clId="{9610C173-2D3E-D34C-812C-51ABDB2614AF}" dt="2024-09-10T10:22:39.090" v="58" actId="165"/>
          <ac:grpSpMkLst>
            <pc:docMk/>
            <pc:sldMk cId="1138970128" sldId="2079"/>
            <ac:grpSpMk id="87" creationId="{76A7351B-81F9-27AD-3382-27C898C7E002}"/>
          </ac:grpSpMkLst>
        </pc:grpChg>
        <pc:grpChg chg="del mod">
          <ac:chgData name="Damker, Herbert" userId="37ff36be-0e4d-42c3-ac06-7b904f0f6b24" providerId="ADAL" clId="{9610C173-2D3E-D34C-812C-51ABDB2614AF}" dt="2024-09-10T10:22:39.090" v="58" actId="165"/>
          <ac:grpSpMkLst>
            <pc:docMk/>
            <pc:sldMk cId="1138970128" sldId="2079"/>
            <ac:grpSpMk id="88" creationId="{90DA9E4C-2846-2B7A-E2E8-1EE7D2DA68C6}"/>
          </ac:grpSpMkLst>
        </pc:grpChg>
        <pc:grpChg chg="topLvl">
          <ac:chgData name="Damker, Herbert" userId="37ff36be-0e4d-42c3-ac06-7b904f0f6b24" providerId="ADAL" clId="{9610C173-2D3E-D34C-812C-51ABDB2614AF}" dt="2024-09-10T10:22:39.090" v="58" actId="165"/>
          <ac:grpSpMkLst>
            <pc:docMk/>
            <pc:sldMk cId="1138970128" sldId="2079"/>
            <ac:grpSpMk id="89" creationId="{6563D7D6-0082-F996-8FED-05E08ED902FF}"/>
          </ac:grpSpMkLst>
        </pc:grpChg>
        <pc:grpChg chg="del">
          <ac:chgData name="Damker, Herbert" userId="37ff36be-0e4d-42c3-ac06-7b904f0f6b24" providerId="ADAL" clId="{9610C173-2D3E-D34C-812C-51ABDB2614AF}" dt="2024-09-10T10:22:39.090" v="58" actId="165"/>
          <ac:grpSpMkLst>
            <pc:docMk/>
            <pc:sldMk cId="1138970128" sldId="2079"/>
            <ac:grpSpMk id="90" creationId="{756698C4-8C81-5D58-3D91-5BF68369191B}"/>
          </ac:grpSpMkLst>
        </pc:grpChg>
        <pc:picChg chg="topLvl">
          <ac:chgData name="Damker, Herbert" userId="37ff36be-0e4d-42c3-ac06-7b904f0f6b24" providerId="ADAL" clId="{9610C173-2D3E-D34C-812C-51ABDB2614AF}" dt="2024-09-10T10:22:39.090" v="58" actId="165"/>
          <ac:picMkLst>
            <pc:docMk/>
            <pc:sldMk cId="1138970128" sldId="2079"/>
            <ac:picMk id="19" creationId="{14199464-2FF8-7146-05F2-502128D32F63}"/>
          </ac:picMkLst>
        </pc:picChg>
      </pc:sldChg>
      <pc:sldChg chg="addSp modSp add mod ord modShow">
        <pc:chgData name="Damker, Herbert" userId="37ff36be-0e4d-42c3-ac06-7b904f0f6b24" providerId="ADAL" clId="{9610C173-2D3E-D34C-812C-51ABDB2614AF}" dt="2024-09-11T18:29:33.486" v="2427"/>
        <pc:sldMkLst>
          <pc:docMk/>
          <pc:sldMk cId="811984782" sldId="2080"/>
        </pc:sldMkLst>
        <pc:spChg chg="mod">
          <ac:chgData name="Damker, Herbert" userId="37ff36be-0e4d-42c3-ac06-7b904f0f6b24" providerId="ADAL" clId="{9610C173-2D3E-D34C-812C-51ABDB2614AF}" dt="2024-09-11T17:10:37.141" v="2239" actId="20577"/>
          <ac:spMkLst>
            <pc:docMk/>
            <pc:sldMk cId="811984782" sldId="2080"/>
            <ac:spMk id="2" creationId="{70DF0F72-5B59-5E6E-F524-3329BDF0BF72}"/>
          </ac:spMkLst>
        </pc:spChg>
        <pc:spChg chg="mod">
          <ac:chgData name="Damker, Herbert" userId="37ff36be-0e4d-42c3-ac06-7b904f0f6b24" providerId="ADAL" clId="{9610C173-2D3E-D34C-812C-51ABDB2614AF}" dt="2024-09-11T18:29:17.439" v="2426"/>
          <ac:spMkLst>
            <pc:docMk/>
            <pc:sldMk cId="811984782" sldId="2080"/>
            <ac:spMk id="5" creationId="{6A60267B-553A-EF8D-5558-D14F4368F3A4}"/>
          </ac:spMkLst>
        </pc:spChg>
        <pc:spChg chg="mod">
          <ac:chgData name="Damker, Herbert" userId="37ff36be-0e4d-42c3-ac06-7b904f0f6b24" providerId="ADAL" clId="{9610C173-2D3E-D34C-812C-51ABDB2614AF}" dt="2024-09-11T18:29:33.486" v="2427"/>
          <ac:spMkLst>
            <pc:docMk/>
            <pc:sldMk cId="811984782" sldId="2080"/>
            <ac:spMk id="6" creationId="{09B446DD-402E-8F07-4408-5F7F443541DF}"/>
          </ac:spMkLst>
        </pc:spChg>
        <pc:spChg chg="add mod">
          <ac:chgData name="Damker, Herbert" userId="37ff36be-0e4d-42c3-ac06-7b904f0f6b24" providerId="ADAL" clId="{9610C173-2D3E-D34C-812C-51ABDB2614AF}" dt="2024-09-10T10:31:46.490" v="128" actId="20577"/>
          <ac:spMkLst>
            <pc:docMk/>
            <pc:sldMk cId="811984782" sldId="2080"/>
            <ac:spMk id="46" creationId="{11385DD6-55F9-5154-28C1-46F57719C73E}"/>
          </ac:spMkLst>
        </pc:spChg>
        <pc:spChg chg="add mod">
          <ac:chgData name="Damker, Herbert" userId="37ff36be-0e4d-42c3-ac06-7b904f0f6b24" providerId="ADAL" clId="{9610C173-2D3E-D34C-812C-51ABDB2614AF}" dt="2024-09-10T10:33:16.729" v="150" actId="20577"/>
          <ac:spMkLst>
            <pc:docMk/>
            <pc:sldMk cId="811984782" sldId="2080"/>
            <ac:spMk id="47" creationId="{F17BE9BB-2F3E-CF24-C910-85795CEA4D9A}"/>
          </ac:spMkLst>
        </pc:spChg>
        <pc:spChg chg="add mod">
          <ac:chgData name="Damker, Herbert" userId="37ff36be-0e4d-42c3-ac06-7b904f0f6b24" providerId="ADAL" clId="{9610C173-2D3E-D34C-812C-51ABDB2614AF}" dt="2024-09-10T10:33:22.714" v="152" actId="20577"/>
          <ac:spMkLst>
            <pc:docMk/>
            <pc:sldMk cId="811984782" sldId="2080"/>
            <ac:spMk id="48" creationId="{77B71EA2-DCBC-93C5-1886-833046E4FAF3}"/>
          </ac:spMkLst>
        </pc:spChg>
        <pc:spChg chg="mod">
          <ac:chgData name="Damker, Herbert" userId="37ff36be-0e4d-42c3-ac06-7b904f0f6b24" providerId="ADAL" clId="{9610C173-2D3E-D34C-812C-51ABDB2614AF}" dt="2024-09-10T10:31:32.631" v="126" actId="20577"/>
          <ac:spMkLst>
            <pc:docMk/>
            <pc:sldMk cId="811984782" sldId="2080"/>
            <ac:spMk id="49" creationId="{8E4E6095-F6B6-5002-13FD-2B16E67DDE2F}"/>
          </ac:spMkLst>
        </pc:spChg>
        <pc:spChg chg="add mod">
          <ac:chgData name="Damker, Herbert" userId="37ff36be-0e4d-42c3-ac06-7b904f0f6b24" providerId="ADAL" clId="{9610C173-2D3E-D34C-812C-51ABDB2614AF}" dt="2024-09-10T10:33:26.832" v="154" actId="20577"/>
          <ac:spMkLst>
            <pc:docMk/>
            <pc:sldMk cId="811984782" sldId="2080"/>
            <ac:spMk id="50" creationId="{F3A2FCA6-0C22-45BF-634F-7154C9A75298}"/>
          </ac:spMkLst>
        </pc:spChg>
        <pc:spChg chg="add mod">
          <ac:chgData name="Damker, Herbert" userId="37ff36be-0e4d-42c3-ac06-7b904f0f6b24" providerId="ADAL" clId="{9610C173-2D3E-D34C-812C-51ABDB2614AF}" dt="2024-09-10T10:33:35.479" v="157" actId="20577"/>
          <ac:spMkLst>
            <pc:docMk/>
            <pc:sldMk cId="811984782" sldId="2080"/>
            <ac:spMk id="52" creationId="{FD9F030F-E61E-D380-6B68-57E01E58CFE4}"/>
          </ac:spMkLst>
        </pc:spChg>
        <pc:spChg chg="add mod">
          <ac:chgData name="Damker, Herbert" userId="37ff36be-0e4d-42c3-ac06-7b904f0f6b24" providerId="ADAL" clId="{9610C173-2D3E-D34C-812C-51ABDB2614AF}" dt="2024-09-10T10:33:42.109" v="160" actId="20577"/>
          <ac:spMkLst>
            <pc:docMk/>
            <pc:sldMk cId="811984782" sldId="2080"/>
            <ac:spMk id="53" creationId="{5090D71E-A33B-F329-365D-BC59EA3F6DE4}"/>
          </ac:spMkLst>
        </pc:spChg>
        <pc:spChg chg="add mod">
          <ac:chgData name="Damker, Herbert" userId="37ff36be-0e4d-42c3-ac06-7b904f0f6b24" providerId="ADAL" clId="{9610C173-2D3E-D34C-812C-51ABDB2614AF}" dt="2024-09-10T10:31:51.139" v="130" actId="20577"/>
          <ac:spMkLst>
            <pc:docMk/>
            <pc:sldMk cId="811984782" sldId="2080"/>
            <ac:spMk id="54" creationId="{4D5D9B17-CAEE-7012-9FF1-3ED57202DF14}"/>
          </ac:spMkLst>
        </pc:spChg>
        <pc:spChg chg="add mod">
          <ac:chgData name="Damker, Herbert" userId="37ff36be-0e4d-42c3-ac06-7b904f0f6b24" providerId="ADAL" clId="{9610C173-2D3E-D34C-812C-51ABDB2614AF}" dt="2024-09-11T14:48:06.879" v="1977" actId="20577"/>
          <ac:spMkLst>
            <pc:docMk/>
            <pc:sldMk cId="811984782" sldId="2080"/>
            <ac:spMk id="56" creationId="{D9F2D2C6-6622-9082-395A-A5AC6786062A}"/>
          </ac:spMkLst>
        </pc:spChg>
        <pc:spChg chg="add mod">
          <ac:chgData name="Damker, Herbert" userId="37ff36be-0e4d-42c3-ac06-7b904f0f6b24" providerId="ADAL" clId="{9610C173-2D3E-D34C-812C-51ABDB2614AF}" dt="2024-09-10T10:32:33.036" v="138" actId="20577"/>
          <ac:spMkLst>
            <pc:docMk/>
            <pc:sldMk cId="811984782" sldId="2080"/>
            <ac:spMk id="59" creationId="{7E9C522A-63A8-2B4E-4257-0387FDC808B3}"/>
          </ac:spMkLst>
        </pc:spChg>
        <pc:spChg chg="add mod">
          <ac:chgData name="Damker, Herbert" userId="37ff36be-0e4d-42c3-ac06-7b904f0f6b24" providerId="ADAL" clId="{9610C173-2D3E-D34C-812C-51ABDB2614AF}" dt="2024-09-10T10:32:27.844" v="136" actId="20577"/>
          <ac:spMkLst>
            <pc:docMk/>
            <pc:sldMk cId="811984782" sldId="2080"/>
            <ac:spMk id="63" creationId="{59876FF9-E7E9-3B9B-D05B-99637DB36E1F}"/>
          </ac:spMkLst>
        </pc:spChg>
        <pc:spChg chg="add mod">
          <ac:chgData name="Damker, Herbert" userId="37ff36be-0e4d-42c3-ac06-7b904f0f6b24" providerId="ADAL" clId="{9610C173-2D3E-D34C-812C-51ABDB2614AF}" dt="2024-09-10T10:31:24.860" v="124" actId="20577"/>
          <ac:spMkLst>
            <pc:docMk/>
            <pc:sldMk cId="811984782" sldId="2080"/>
            <ac:spMk id="64" creationId="{76DC8012-031A-B30C-BA2F-FA5B47C53244}"/>
          </ac:spMkLst>
        </pc:spChg>
        <pc:spChg chg="add mod">
          <ac:chgData name="Damker, Herbert" userId="37ff36be-0e4d-42c3-ac06-7b904f0f6b24" providerId="ADAL" clId="{9610C173-2D3E-D34C-812C-51ABDB2614AF}" dt="2024-09-10T10:32:18.958" v="134" actId="20577"/>
          <ac:spMkLst>
            <pc:docMk/>
            <pc:sldMk cId="811984782" sldId="2080"/>
            <ac:spMk id="65" creationId="{A91C4C32-4D77-8807-C21F-092ACBC74165}"/>
          </ac:spMkLst>
        </pc:spChg>
        <pc:spChg chg="add mod">
          <ac:chgData name="Damker, Herbert" userId="37ff36be-0e4d-42c3-ac06-7b904f0f6b24" providerId="ADAL" clId="{9610C173-2D3E-D34C-812C-51ABDB2614AF}" dt="2024-09-10T10:32:48.338" v="144" actId="20577"/>
          <ac:spMkLst>
            <pc:docMk/>
            <pc:sldMk cId="811984782" sldId="2080"/>
            <ac:spMk id="66" creationId="{FBFA035F-B314-53F3-E676-7BD978DC0F44}"/>
          </ac:spMkLst>
        </pc:spChg>
        <pc:spChg chg="add mod">
          <ac:chgData name="Damker, Herbert" userId="37ff36be-0e4d-42c3-ac06-7b904f0f6b24" providerId="ADAL" clId="{9610C173-2D3E-D34C-812C-51ABDB2614AF}" dt="2024-09-10T10:33:01.955" v="146" actId="20577"/>
          <ac:spMkLst>
            <pc:docMk/>
            <pc:sldMk cId="811984782" sldId="2080"/>
            <ac:spMk id="67" creationId="{54E7F9BA-D1B0-6A5D-CAAE-3390D6865767}"/>
          </ac:spMkLst>
        </pc:spChg>
        <pc:spChg chg="add mod">
          <ac:chgData name="Damker, Herbert" userId="37ff36be-0e4d-42c3-ac06-7b904f0f6b24" providerId="ADAL" clId="{9610C173-2D3E-D34C-812C-51ABDB2614AF}" dt="2024-09-10T10:32:10.475" v="132" actId="20577"/>
          <ac:spMkLst>
            <pc:docMk/>
            <pc:sldMk cId="811984782" sldId="2080"/>
            <ac:spMk id="68" creationId="{C2E99B9B-F1D5-B83C-636A-9F6FB3B1BE94}"/>
          </ac:spMkLst>
        </pc:spChg>
        <pc:spChg chg="add mod">
          <ac:chgData name="Damker, Herbert" userId="37ff36be-0e4d-42c3-ac06-7b904f0f6b24" providerId="ADAL" clId="{9610C173-2D3E-D34C-812C-51ABDB2614AF}" dt="2024-09-10T10:28:51.466" v="116" actId="20577"/>
          <ac:spMkLst>
            <pc:docMk/>
            <pc:sldMk cId="811984782" sldId="2080"/>
            <ac:spMk id="69" creationId="{DA9FC3D7-0872-CA09-A677-609F8427F224}"/>
          </ac:spMkLst>
        </pc:spChg>
        <pc:spChg chg="add mod">
          <ac:chgData name="Damker, Herbert" userId="37ff36be-0e4d-42c3-ac06-7b904f0f6b24" providerId="ADAL" clId="{9610C173-2D3E-D34C-812C-51ABDB2614AF}" dt="2024-09-10T10:29:05.990" v="122" actId="20577"/>
          <ac:spMkLst>
            <pc:docMk/>
            <pc:sldMk cId="811984782" sldId="2080"/>
            <ac:spMk id="70" creationId="{80ABF4DD-4496-A90C-9CE7-E2C8F82020C3}"/>
          </ac:spMkLst>
        </pc:spChg>
        <pc:spChg chg="add mod">
          <ac:chgData name="Damker, Herbert" userId="37ff36be-0e4d-42c3-ac06-7b904f0f6b24" providerId="ADAL" clId="{9610C173-2D3E-D34C-812C-51ABDB2614AF}" dt="2024-09-10T10:29:00.979" v="120" actId="20577"/>
          <ac:spMkLst>
            <pc:docMk/>
            <pc:sldMk cId="811984782" sldId="2080"/>
            <ac:spMk id="71" creationId="{D84E9F32-C3F4-25C3-4005-2A550963642F}"/>
          </ac:spMkLst>
        </pc:spChg>
        <pc:spChg chg="add mod">
          <ac:chgData name="Damker, Herbert" userId="37ff36be-0e4d-42c3-ac06-7b904f0f6b24" providerId="ADAL" clId="{9610C173-2D3E-D34C-812C-51ABDB2614AF}" dt="2024-09-10T10:28:55.608" v="118" actId="20577"/>
          <ac:spMkLst>
            <pc:docMk/>
            <pc:sldMk cId="811984782" sldId="2080"/>
            <ac:spMk id="75" creationId="{BCE253F8-A0B9-06F5-D324-C60C4DF35D8C}"/>
          </ac:spMkLst>
        </pc:spChg>
        <pc:spChg chg="mod">
          <ac:chgData name="Damker, Herbert" userId="37ff36be-0e4d-42c3-ac06-7b904f0f6b24" providerId="ADAL" clId="{9610C173-2D3E-D34C-812C-51ABDB2614AF}" dt="2024-09-11T18:26:03.405" v="2336"/>
          <ac:spMkLst>
            <pc:docMk/>
            <pc:sldMk cId="811984782" sldId="2080"/>
            <ac:spMk id="112" creationId="{055DD645-212E-1B41-DB5F-1B0B69D3040E}"/>
          </ac:spMkLst>
        </pc:spChg>
      </pc:sldChg>
      <pc:sldChg chg="addSp delSp modSp mod modShow">
        <pc:chgData name="Damker, Herbert" userId="37ff36be-0e4d-42c3-ac06-7b904f0f6b24" providerId="ADAL" clId="{9610C173-2D3E-D34C-812C-51ABDB2614AF}" dt="2024-09-13T06:44:18.218" v="2698" actId="20577"/>
        <pc:sldMkLst>
          <pc:docMk/>
          <pc:sldMk cId="2401813771" sldId="2081"/>
        </pc:sldMkLst>
        <pc:spChg chg="mod">
          <ac:chgData name="Damker, Herbert" userId="37ff36be-0e4d-42c3-ac06-7b904f0f6b24" providerId="ADAL" clId="{9610C173-2D3E-D34C-812C-51ABDB2614AF}" dt="2024-09-13T06:44:18.218" v="2698" actId="20577"/>
          <ac:spMkLst>
            <pc:docMk/>
            <pc:sldMk cId="2401813771" sldId="2081"/>
            <ac:spMk id="2" creationId="{70DF0F72-5B59-5E6E-F524-3329BDF0BF72}"/>
          </ac:spMkLst>
        </pc:spChg>
        <pc:spChg chg="add mod">
          <ac:chgData name="Damker, Herbert" userId="37ff36be-0e4d-42c3-ac06-7b904f0f6b24" providerId="ADAL" clId="{9610C173-2D3E-D34C-812C-51ABDB2614AF}" dt="2024-09-11T11:31:38.047" v="1755" actId="408"/>
          <ac:spMkLst>
            <pc:docMk/>
            <pc:sldMk cId="2401813771" sldId="2081"/>
            <ac:spMk id="3" creationId="{230B028F-920F-D0B7-C814-5F925BBC85BA}"/>
          </ac:spMkLst>
        </pc:spChg>
        <pc:spChg chg="mod">
          <ac:chgData name="Damker, Herbert" userId="37ff36be-0e4d-42c3-ac06-7b904f0f6b24" providerId="ADAL" clId="{9610C173-2D3E-D34C-812C-51ABDB2614AF}" dt="2024-09-11T12:37:20.848" v="1975" actId="20577"/>
          <ac:spMkLst>
            <pc:docMk/>
            <pc:sldMk cId="2401813771" sldId="2081"/>
            <ac:spMk id="4" creationId="{F51E616F-C90B-DC1F-1A77-C9C879920162}"/>
          </ac:spMkLst>
        </pc:spChg>
        <pc:spChg chg="add mod">
          <ac:chgData name="Damker, Herbert" userId="37ff36be-0e4d-42c3-ac06-7b904f0f6b24" providerId="ADAL" clId="{9610C173-2D3E-D34C-812C-51ABDB2614AF}" dt="2024-09-11T11:32:45.994" v="1758" actId="465"/>
          <ac:spMkLst>
            <pc:docMk/>
            <pc:sldMk cId="2401813771" sldId="2081"/>
            <ac:spMk id="5" creationId="{57F780D8-2DDF-D4F7-B21B-B75E1C747730}"/>
          </ac:spMkLst>
        </pc:spChg>
        <pc:spChg chg="add mod">
          <ac:chgData name="Damker, Herbert" userId="37ff36be-0e4d-42c3-ac06-7b904f0f6b24" providerId="ADAL" clId="{9610C173-2D3E-D34C-812C-51ABDB2614AF}" dt="2024-09-11T11:31:38.047" v="1755" actId="408"/>
          <ac:spMkLst>
            <pc:docMk/>
            <pc:sldMk cId="2401813771" sldId="2081"/>
            <ac:spMk id="6" creationId="{6C2ECAFE-69C9-EE74-B3DD-EBC71718C23F}"/>
          </ac:spMkLst>
        </pc:spChg>
        <pc:spChg chg="add mod">
          <ac:chgData name="Damker, Herbert" userId="37ff36be-0e4d-42c3-ac06-7b904f0f6b24" providerId="ADAL" clId="{9610C173-2D3E-D34C-812C-51ABDB2614AF}" dt="2024-09-11T11:32:45.994" v="1758" actId="465"/>
          <ac:spMkLst>
            <pc:docMk/>
            <pc:sldMk cId="2401813771" sldId="2081"/>
            <ac:spMk id="7" creationId="{0A68610D-5880-8BDB-49C8-05437B586E1B}"/>
          </ac:spMkLst>
        </pc:spChg>
        <pc:spChg chg="add mod">
          <ac:chgData name="Damker, Herbert" userId="37ff36be-0e4d-42c3-ac06-7b904f0f6b24" providerId="ADAL" clId="{9610C173-2D3E-D34C-812C-51ABDB2614AF}" dt="2024-09-11T11:27:52.956" v="1716" actId="408"/>
          <ac:spMkLst>
            <pc:docMk/>
            <pc:sldMk cId="2401813771" sldId="2081"/>
            <ac:spMk id="8" creationId="{5C533B9F-C0AE-F069-3C60-C6F7E739BD04}"/>
          </ac:spMkLst>
        </pc:spChg>
        <pc:spChg chg="add del mod">
          <ac:chgData name="Damker, Herbert" userId="37ff36be-0e4d-42c3-ac06-7b904f0f6b24" providerId="ADAL" clId="{9610C173-2D3E-D34C-812C-51ABDB2614AF}" dt="2024-09-11T11:17:53.627" v="1528" actId="478"/>
          <ac:spMkLst>
            <pc:docMk/>
            <pc:sldMk cId="2401813771" sldId="2081"/>
            <ac:spMk id="9" creationId="{77552236-6E16-D5BB-E870-A3BBF5D9FFD4}"/>
          </ac:spMkLst>
        </pc:spChg>
        <pc:spChg chg="add mod">
          <ac:chgData name="Damker, Herbert" userId="37ff36be-0e4d-42c3-ac06-7b904f0f6b24" providerId="ADAL" clId="{9610C173-2D3E-D34C-812C-51ABDB2614AF}" dt="2024-09-11T11:32:45.994" v="1758" actId="465"/>
          <ac:spMkLst>
            <pc:docMk/>
            <pc:sldMk cId="2401813771" sldId="2081"/>
            <ac:spMk id="10" creationId="{9DF7ACDA-6699-1C6D-CB86-509AC2179C66}"/>
          </ac:spMkLst>
        </pc:spChg>
        <pc:spChg chg="add mod">
          <ac:chgData name="Damker, Herbert" userId="37ff36be-0e4d-42c3-ac06-7b904f0f6b24" providerId="ADAL" clId="{9610C173-2D3E-D34C-812C-51ABDB2614AF}" dt="2024-09-11T11:27:52.956" v="1716" actId="408"/>
          <ac:spMkLst>
            <pc:docMk/>
            <pc:sldMk cId="2401813771" sldId="2081"/>
            <ac:spMk id="11" creationId="{7CCE6525-1261-811C-D9AE-C583181DF359}"/>
          </ac:spMkLst>
        </pc:spChg>
        <pc:spChg chg="add mod">
          <ac:chgData name="Damker, Herbert" userId="37ff36be-0e4d-42c3-ac06-7b904f0f6b24" providerId="ADAL" clId="{9610C173-2D3E-D34C-812C-51ABDB2614AF}" dt="2024-09-11T11:32:45.994" v="1758" actId="465"/>
          <ac:spMkLst>
            <pc:docMk/>
            <pc:sldMk cId="2401813771" sldId="2081"/>
            <ac:spMk id="12" creationId="{AF5160B2-5B9D-B173-B58B-1A385A5C7D4E}"/>
          </ac:spMkLst>
        </pc:spChg>
        <pc:spChg chg="add mod">
          <ac:chgData name="Damker, Herbert" userId="37ff36be-0e4d-42c3-ac06-7b904f0f6b24" providerId="ADAL" clId="{9610C173-2D3E-D34C-812C-51ABDB2614AF}" dt="2024-09-11T11:32:45.994" v="1758" actId="465"/>
          <ac:spMkLst>
            <pc:docMk/>
            <pc:sldMk cId="2401813771" sldId="2081"/>
            <ac:spMk id="13" creationId="{312669FE-4F9B-9425-993D-C24386016F03}"/>
          </ac:spMkLst>
        </pc:spChg>
        <pc:spChg chg="add mod">
          <ac:chgData name="Damker, Herbert" userId="37ff36be-0e4d-42c3-ac06-7b904f0f6b24" providerId="ADAL" clId="{9610C173-2D3E-D34C-812C-51ABDB2614AF}" dt="2024-09-11T11:32:45.994" v="1758" actId="465"/>
          <ac:spMkLst>
            <pc:docMk/>
            <pc:sldMk cId="2401813771" sldId="2081"/>
            <ac:spMk id="14" creationId="{C9F6B07C-98B2-F5C4-ADF8-B6569AE00C2D}"/>
          </ac:spMkLst>
        </pc:spChg>
        <pc:spChg chg="add mod">
          <ac:chgData name="Damker, Herbert" userId="37ff36be-0e4d-42c3-ac06-7b904f0f6b24" providerId="ADAL" clId="{9610C173-2D3E-D34C-812C-51ABDB2614AF}" dt="2024-09-11T11:27:52.956" v="1716" actId="408"/>
          <ac:spMkLst>
            <pc:docMk/>
            <pc:sldMk cId="2401813771" sldId="2081"/>
            <ac:spMk id="15" creationId="{0A433D0C-108D-AEB5-1105-BA0225E9AFF6}"/>
          </ac:spMkLst>
        </pc:spChg>
        <pc:spChg chg="add del mod">
          <ac:chgData name="Damker, Herbert" userId="37ff36be-0e4d-42c3-ac06-7b904f0f6b24" providerId="ADAL" clId="{9610C173-2D3E-D34C-812C-51ABDB2614AF}" dt="2024-09-11T10:36:31.998" v="568" actId="478"/>
          <ac:spMkLst>
            <pc:docMk/>
            <pc:sldMk cId="2401813771" sldId="2081"/>
            <ac:spMk id="16" creationId="{0A0E5B78-387B-F8A7-47ED-CD1A4D1070F7}"/>
          </ac:spMkLst>
        </pc:spChg>
        <pc:spChg chg="add mod">
          <ac:chgData name="Damker, Herbert" userId="37ff36be-0e4d-42c3-ac06-7b904f0f6b24" providerId="ADAL" clId="{9610C173-2D3E-D34C-812C-51ABDB2614AF}" dt="2024-09-11T11:32:45.994" v="1758" actId="465"/>
          <ac:spMkLst>
            <pc:docMk/>
            <pc:sldMk cId="2401813771" sldId="2081"/>
            <ac:spMk id="17" creationId="{4BB16811-A0B6-4096-5688-7E9DDE41201D}"/>
          </ac:spMkLst>
        </pc:spChg>
        <pc:spChg chg="add mod">
          <ac:chgData name="Damker, Herbert" userId="37ff36be-0e4d-42c3-ac06-7b904f0f6b24" providerId="ADAL" clId="{9610C173-2D3E-D34C-812C-51ABDB2614AF}" dt="2024-09-11T11:31:38.047" v="1755" actId="408"/>
          <ac:spMkLst>
            <pc:docMk/>
            <pc:sldMk cId="2401813771" sldId="2081"/>
            <ac:spMk id="18" creationId="{B7C298FF-5B39-3758-E29E-F7066ACD3D27}"/>
          </ac:spMkLst>
        </pc:spChg>
        <pc:spChg chg="add del mod">
          <ac:chgData name="Damker, Herbert" userId="37ff36be-0e4d-42c3-ac06-7b904f0f6b24" providerId="ADAL" clId="{9610C173-2D3E-D34C-812C-51ABDB2614AF}" dt="2024-09-11T10:54:13.063" v="1094" actId="478"/>
          <ac:spMkLst>
            <pc:docMk/>
            <pc:sldMk cId="2401813771" sldId="2081"/>
            <ac:spMk id="19" creationId="{B659F01F-7835-8E9E-D814-5A2C7D6D84A9}"/>
          </ac:spMkLst>
        </pc:spChg>
        <pc:spChg chg="add mod">
          <ac:chgData name="Damker, Herbert" userId="37ff36be-0e4d-42c3-ac06-7b904f0f6b24" providerId="ADAL" clId="{9610C173-2D3E-D34C-812C-51ABDB2614AF}" dt="2024-09-11T11:32:45.994" v="1758" actId="465"/>
          <ac:spMkLst>
            <pc:docMk/>
            <pc:sldMk cId="2401813771" sldId="2081"/>
            <ac:spMk id="20" creationId="{8FB60EA2-F509-7287-AA6A-3A70792029AF}"/>
          </ac:spMkLst>
        </pc:spChg>
        <pc:spChg chg="add mod">
          <ac:chgData name="Damker, Herbert" userId="37ff36be-0e4d-42c3-ac06-7b904f0f6b24" providerId="ADAL" clId="{9610C173-2D3E-D34C-812C-51ABDB2614AF}" dt="2024-09-11T11:32:45.994" v="1758" actId="465"/>
          <ac:spMkLst>
            <pc:docMk/>
            <pc:sldMk cId="2401813771" sldId="2081"/>
            <ac:spMk id="21" creationId="{0F220F5E-754E-7BAE-58B0-EE468600C53B}"/>
          </ac:spMkLst>
        </pc:spChg>
        <pc:spChg chg="add mod">
          <ac:chgData name="Damker, Herbert" userId="37ff36be-0e4d-42c3-ac06-7b904f0f6b24" providerId="ADAL" clId="{9610C173-2D3E-D34C-812C-51ABDB2614AF}" dt="2024-09-11T11:31:38.047" v="1755" actId="408"/>
          <ac:spMkLst>
            <pc:docMk/>
            <pc:sldMk cId="2401813771" sldId="2081"/>
            <ac:spMk id="22" creationId="{D27B4E34-529F-D43F-9FD2-79F0BA1C8DA7}"/>
          </ac:spMkLst>
        </pc:spChg>
        <pc:spChg chg="add del mod">
          <ac:chgData name="Damker, Herbert" userId="37ff36be-0e4d-42c3-ac06-7b904f0f6b24" providerId="ADAL" clId="{9610C173-2D3E-D34C-812C-51ABDB2614AF}" dt="2024-09-11T11:02:53.687" v="1294" actId="478"/>
          <ac:spMkLst>
            <pc:docMk/>
            <pc:sldMk cId="2401813771" sldId="2081"/>
            <ac:spMk id="23" creationId="{D19BCC37-D7E3-C676-921A-1B1E4E52A1F2}"/>
          </ac:spMkLst>
        </pc:spChg>
        <pc:spChg chg="add mod">
          <ac:chgData name="Damker, Herbert" userId="37ff36be-0e4d-42c3-ac06-7b904f0f6b24" providerId="ADAL" clId="{9610C173-2D3E-D34C-812C-51ABDB2614AF}" dt="2024-09-11T10:49:55.456" v="1032" actId="20577"/>
          <ac:spMkLst>
            <pc:docMk/>
            <pc:sldMk cId="2401813771" sldId="2081"/>
            <ac:spMk id="24" creationId="{A6C918B5-E1A4-22DA-CD3C-FC756BE33183}"/>
          </ac:spMkLst>
        </pc:spChg>
        <pc:spChg chg="add mod">
          <ac:chgData name="Damker, Herbert" userId="37ff36be-0e4d-42c3-ac06-7b904f0f6b24" providerId="ADAL" clId="{9610C173-2D3E-D34C-812C-51ABDB2614AF}" dt="2024-09-11T11:27:52.956" v="1716" actId="408"/>
          <ac:spMkLst>
            <pc:docMk/>
            <pc:sldMk cId="2401813771" sldId="2081"/>
            <ac:spMk id="25" creationId="{8B4CC79D-EEE2-EFFA-2EBE-E71F5142A245}"/>
          </ac:spMkLst>
        </pc:spChg>
        <pc:spChg chg="add mod">
          <ac:chgData name="Damker, Herbert" userId="37ff36be-0e4d-42c3-ac06-7b904f0f6b24" providerId="ADAL" clId="{9610C173-2D3E-D34C-812C-51ABDB2614AF}" dt="2024-09-11T11:27:52.956" v="1716" actId="408"/>
          <ac:spMkLst>
            <pc:docMk/>
            <pc:sldMk cId="2401813771" sldId="2081"/>
            <ac:spMk id="26" creationId="{05812412-F58E-DAEB-15A1-3B2A14E4ED1C}"/>
          </ac:spMkLst>
        </pc:spChg>
        <pc:spChg chg="add mod">
          <ac:chgData name="Damker, Herbert" userId="37ff36be-0e4d-42c3-ac06-7b904f0f6b24" providerId="ADAL" clId="{9610C173-2D3E-D34C-812C-51ABDB2614AF}" dt="2024-09-11T11:32:45.994" v="1758" actId="465"/>
          <ac:spMkLst>
            <pc:docMk/>
            <pc:sldMk cId="2401813771" sldId="2081"/>
            <ac:spMk id="27" creationId="{708BA294-AFDB-9F27-9EBF-98AA9B47DD8B}"/>
          </ac:spMkLst>
        </pc:spChg>
        <pc:spChg chg="add mod">
          <ac:chgData name="Damker, Herbert" userId="37ff36be-0e4d-42c3-ac06-7b904f0f6b24" providerId="ADAL" clId="{9610C173-2D3E-D34C-812C-51ABDB2614AF}" dt="2024-09-11T11:27:52.956" v="1716" actId="408"/>
          <ac:spMkLst>
            <pc:docMk/>
            <pc:sldMk cId="2401813771" sldId="2081"/>
            <ac:spMk id="28" creationId="{11C1508D-E304-4268-F83E-AC415CCC0A42}"/>
          </ac:spMkLst>
        </pc:spChg>
        <pc:spChg chg="add mod">
          <ac:chgData name="Damker, Herbert" userId="37ff36be-0e4d-42c3-ac06-7b904f0f6b24" providerId="ADAL" clId="{9610C173-2D3E-D34C-812C-51ABDB2614AF}" dt="2024-09-11T11:31:38.047" v="1755" actId="408"/>
          <ac:spMkLst>
            <pc:docMk/>
            <pc:sldMk cId="2401813771" sldId="2081"/>
            <ac:spMk id="29" creationId="{73446FB8-132E-774F-F8FD-57B3C0799E93}"/>
          </ac:spMkLst>
        </pc:spChg>
        <pc:spChg chg="del">
          <ac:chgData name="Damker, Herbert" userId="37ff36be-0e4d-42c3-ac06-7b904f0f6b24" providerId="ADAL" clId="{9610C173-2D3E-D34C-812C-51ABDB2614AF}" dt="2024-09-11T10:19:58.955" v="284" actId="478"/>
          <ac:spMkLst>
            <pc:docMk/>
            <pc:sldMk cId="2401813771" sldId="2081"/>
            <ac:spMk id="76" creationId="{ADF51D14-BE49-1DFE-FFA0-29B6BD49A734}"/>
          </ac:spMkLst>
        </pc:spChg>
        <pc:spChg chg="del">
          <ac:chgData name="Damker, Herbert" userId="37ff36be-0e4d-42c3-ac06-7b904f0f6b24" providerId="ADAL" clId="{9610C173-2D3E-D34C-812C-51ABDB2614AF}" dt="2024-09-11T10:37:56.684" v="586" actId="478"/>
          <ac:spMkLst>
            <pc:docMk/>
            <pc:sldMk cId="2401813771" sldId="2081"/>
            <ac:spMk id="114" creationId="{5328F1DA-6D9C-E513-B8DE-E3BE84B810E4}"/>
          </ac:spMkLst>
        </pc:spChg>
        <pc:grpChg chg="add mod topLvl">
          <ac:chgData name="Damker, Herbert" userId="37ff36be-0e4d-42c3-ac06-7b904f0f6b24" providerId="ADAL" clId="{9610C173-2D3E-D34C-812C-51ABDB2614AF}" dt="2024-09-11T11:42:45.439" v="1965" actId="1076"/>
          <ac:grpSpMkLst>
            <pc:docMk/>
            <pc:sldMk cId="2401813771" sldId="2081"/>
            <ac:grpSpMk id="30" creationId="{FABCEED8-3D84-B038-A263-370F170A1E38}"/>
          </ac:grpSpMkLst>
        </pc:grpChg>
        <pc:grpChg chg="add mod topLvl">
          <ac:chgData name="Damker, Herbert" userId="37ff36be-0e4d-42c3-ac06-7b904f0f6b24" providerId="ADAL" clId="{9610C173-2D3E-D34C-812C-51ABDB2614AF}" dt="2024-09-11T11:42:45.439" v="1965" actId="1076"/>
          <ac:grpSpMkLst>
            <pc:docMk/>
            <pc:sldMk cId="2401813771" sldId="2081"/>
            <ac:grpSpMk id="31" creationId="{10AD4E76-EDA0-C88E-2188-0D235D46D57D}"/>
          </ac:grpSpMkLst>
        </pc:grpChg>
        <pc:grpChg chg="add mod topLvl">
          <ac:chgData name="Damker, Herbert" userId="37ff36be-0e4d-42c3-ac06-7b904f0f6b24" providerId="ADAL" clId="{9610C173-2D3E-D34C-812C-51ABDB2614AF}" dt="2024-09-11T11:42:45.439" v="1965" actId="1076"/>
          <ac:grpSpMkLst>
            <pc:docMk/>
            <pc:sldMk cId="2401813771" sldId="2081"/>
            <ac:grpSpMk id="32" creationId="{51FABDD1-2950-1638-FC5B-8DA22A19E12E}"/>
          </ac:grpSpMkLst>
        </pc:grpChg>
        <pc:grpChg chg="add mod topLvl">
          <ac:chgData name="Damker, Herbert" userId="37ff36be-0e4d-42c3-ac06-7b904f0f6b24" providerId="ADAL" clId="{9610C173-2D3E-D34C-812C-51ABDB2614AF}" dt="2024-09-11T11:42:45.439" v="1965" actId="1076"/>
          <ac:grpSpMkLst>
            <pc:docMk/>
            <pc:sldMk cId="2401813771" sldId="2081"/>
            <ac:grpSpMk id="33" creationId="{6CF570E9-F911-7C8B-4BBC-BF9DC43A9B1F}"/>
          </ac:grpSpMkLst>
        </pc:grpChg>
        <pc:grpChg chg="add del mod">
          <ac:chgData name="Damker, Herbert" userId="37ff36be-0e4d-42c3-ac06-7b904f0f6b24" providerId="ADAL" clId="{9610C173-2D3E-D34C-812C-51ABDB2614AF}" dt="2024-09-11T11:42:33.175" v="1964" actId="165"/>
          <ac:grpSpMkLst>
            <pc:docMk/>
            <pc:sldMk cId="2401813771" sldId="2081"/>
            <ac:grpSpMk id="34" creationId="{8086FAB8-A8DD-2D55-A629-250DE0C4B2F5}"/>
          </ac:grpSpMkLst>
        </pc:grpChg>
      </pc:sldChg>
      <pc:sldChg chg="modSp new mod modShow">
        <pc:chgData name="Damker, Herbert" userId="37ff36be-0e4d-42c3-ac06-7b904f0f6b24" providerId="ADAL" clId="{9610C173-2D3E-D34C-812C-51ABDB2614AF}" dt="2024-09-11T17:11:22.074" v="2240" actId="729"/>
        <pc:sldMkLst>
          <pc:docMk/>
          <pc:sldMk cId="2170193770" sldId="2082"/>
        </pc:sldMkLst>
        <pc:spChg chg="mod">
          <ac:chgData name="Damker, Herbert" userId="37ff36be-0e4d-42c3-ac06-7b904f0f6b24" providerId="ADAL" clId="{9610C173-2D3E-D34C-812C-51ABDB2614AF}" dt="2024-09-11T11:41:40.992" v="1962" actId="20577"/>
          <ac:spMkLst>
            <pc:docMk/>
            <pc:sldMk cId="2170193770" sldId="2082"/>
            <ac:spMk id="2" creationId="{3E3109A6-80FF-6045-D0BC-F6F71046551B}"/>
          </ac:spMkLst>
        </pc:spChg>
      </pc:sldChg>
      <pc:sldChg chg="addSp delSp modSp new mod chgLayout">
        <pc:chgData name="Damker, Herbert" userId="37ff36be-0e4d-42c3-ac06-7b904f0f6b24" providerId="ADAL" clId="{9610C173-2D3E-D34C-812C-51ABDB2614AF}" dt="2024-09-12T12:02:05.015" v="2563" actId="20577"/>
        <pc:sldMkLst>
          <pc:docMk/>
          <pc:sldMk cId="4215436957" sldId="2083"/>
        </pc:sldMkLst>
        <pc:spChg chg="del">
          <ac:chgData name="Damker, Herbert" userId="37ff36be-0e4d-42c3-ac06-7b904f0f6b24" providerId="ADAL" clId="{9610C173-2D3E-D34C-812C-51ABDB2614AF}" dt="2024-09-12T11:56:47.529" v="2429" actId="700"/>
          <ac:spMkLst>
            <pc:docMk/>
            <pc:sldMk cId="4215436957" sldId="2083"/>
            <ac:spMk id="2" creationId="{3B449898-F636-313A-1DD4-173823FB2C8F}"/>
          </ac:spMkLst>
        </pc:spChg>
        <pc:spChg chg="del mod ord">
          <ac:chgData name="Damker, Herbert" userId="37ff36be-0e4d-42c3-ac06-7b904f0f6b24" providerId="ADAL" clId="{9610C173-2D3E-D34C-812C-51ABDB2614AF}" dt="2024-09-12T11:56:47.529" v="2429" actId="700"/>
          <ac:spMkLst>
            <pc:docMk/>
            <pc:sldMk cId="4215436957" sldId="2083"/>
            <ac:spMk id="3" creationId="{F47E65D7-442B-8277-BCCA-F350A0514974}"/>
          </ac:spMkLst>
        </pc:spChg>
        <pc:spChg chg="add mod ord">
          <ac:chgData name="Damker, Herbert" userId="37ff36be-0e4d-42c3-ac06-7b904f0f6b24" providerId="ADAL" clId="{9610C173-2D3E-D34C-812C-51ABDB2614AF}" dt="2024-09-12T11:57:17.979" v="2515" actId="20577"/>
          <ac:spMkLst>
            <pc:docMk/>
            <pc:sldMk cId="4215436957" sldId="2083"/>
            <ac:spMk id="4" creationId="{910C136F-0AA1-7049-8310-207793D78872}"/>
          </ac:spMkLst>
        </pc:spChg>
        <pc:spChg chg="add mod ord">
          <ac:chgData name="Damker, Herbert" userId="37ff36be-0e4d-42c3-ac06-7b904f0f6b24" providerId="ADAL" clId="{9610C173-2D3E-D34C-812C-51ABDB2614AF}" dt="2024-09-12T12:02:05.015" v="2563" actId="20577"/>
          <ac:spMkLst>
            <pc:docMk/>
            <pc:sldMk cId="4215436957" sldId="2083"/>
            <ac:spMk id="5" creationId="{D8091025-0A94-1901-682F-56DB63014AA5}"/>
          </ac:spMkLst>
        </pc:spChg>
      </pc:sldChg>
      <pc:sldMasterChg chg="delSldLayout">
        <pc:chgData name="Damker, Herbert" userId="37ff36be-0e4d-42c3-ac06-7b904f0f6b24" providerId="ADAL" clId="{9610C173-2D3E-D34C-812C-51ABDB2614AF}" dt="2024-09-11T10:43:32.578" v="806" actId="2696"/>
        <pc:sldMasterMkLst>
          <pc:docMk/>
          <pc:sldMasterMk cId="792883523" sldId="2147483648"/>
        </pc:sldMasterMkLst>
        <pc:sldLayoutChg chg="del">
          <pc:chgData name="Damker, Herbert" userId="37ff36be-0e4d-42c3-ac06-7b904f0f6b24" providerId="ADAL" clId="{9610C173-2D3E-D34C-812C-51ABDB2614AF}" dt="2024-09-11T10:43:32.578" v="806" actId="2696"/>
          <pc:sldLayoutMkLst>
            <pc:docMk/>
            <pc:sldMasterMk cId="792883523" sldId="2147483648"/>
            <pc:sldLayoutMk cId="2205543202" sldId="2147483664"/>
          </pc:sldLayoutMkLst>
        </pc:sldLayoutChg>
      </pc:sldMasterChg>
    </pc:docChg>
  </pc:docChgLst>
  <pc:docChgLst>
    <pc:chgData name="Damker, Herbert" userId="S::herbert.damker@telekom.de::37ff36be-0e4d-42c3-ac06-7b904f0f6b24" providerId="AD" clId="Web-{82C8F5B0-27E5-D55E-169B-02354F3247FF}"/>
    <pc:docChg chg="modSld">
      <pc:chgData name="Damker, Herbert" userId="S::herbert.damker@telekom.de::37ff36be-0e4d-42c3-ac06-7b904f0f6b24" providerId="AD" clId="Web-{82C8F5B0-27E5-D55E-169B-02354F3247FF}" dt="2024-09-10T13:40:03.631" v="1" actId="14100"/>
      <pc:docMkLst>
        <pc:docMk/>
      </pc:docMkLst>
      <pc:sldChg chg="modSp">
        <pc:chgData name="Damker, Herbert" userId="S::herbert.damker@telekom.de::37ff36be-0e4d-42c3-ac06-7b904f0f6b24" providerId="AD" clId="Web-{82C8F5B0-27E5-D55E-169B-02354F3247FF}" dt="2024-09-10T13:39:52.053" v="0" actId="14100"/>
        <pc:sldMkLst>
          <pc:docMk/>
          <pc:sldMk cId="1138970128" sldId="2079"/>
        </pc:sldMkLst>
        <pc:spChg chg="mod">
          <ac:chgData name="Damker, Herbert" userId="S::herbert.damker@telekom.de::37ff36be-0e4d-42c3-ac06-7b904f0f6b24" providerId="AD" clId="Web-{82C8F5B0-27E5-D55E-169B-02354F3247FF}" dt="2024-09-10T13:39:52.053" v="0" actId="14100"/>
          <ac:spMkLst>
            <pc:docMk/>
            <pc:sldMk cId="1138970128" sldId="2079"/>
            <ac:spMk id="62" creationId="{43615E0D-7221-5EC2-7A6F-CE65D4C19DCB}"/>
          </ac:spMkLst>
        </pc:spChg>
      </pc:sldChg>
      <pc:sldChg chg="modSp">
        <pc:chgData name="Damker, Herbert" userId="S::herbert.damker@telekom.de::37ff36be-0e4d-42c3-ac06-7b904f0f6b24" providerId="AD" clId="Web-{82C8F5B0-27E5-D55E-169B-02354F3247FF}" dt="2024-09-10T13:40:03.631" v="1" actId="14100"/>
        <pc:sldMkLst>
          <pc:docMk/>
          <pc:sldMk cId="811984782" sldId="2080"/>
        </pc:sldMkLst>
        <pc:spChg chg="mod">
          <ac:chgData name="Damker, Herbert" userId="S::herbert.damker@telekom.de::37ff36be-0e4d-42c3-ac06-7b904f0f6b24" providerId="AD" clId="Web-{82C8F5B0-27E5-D55E-169B-02354F3247FF}" dt="2024-09-10T13:40:03.631" v="1" actId="14100"/>
          <ac:spMkLst>
            <pc:docMk/>
            <pc:sldMk cId="811984782" sldId="2080"/>
            <ac:spMk id="62" creationId="{8956C84D-1880-EFE8-074D-625E06523BEF}"/>
          </ac:spMkLst>
        </pc:spChg>
      </pc:sldChg>
    </pc:docChg>
  </pc:docChgLst>
  <pc:docChgLst>
    <pc:chgData name="Kümmerle, Markus" userId="edb588ad-b118-44cb-93b6-335b967c9009" providerId="ADAL" clId="{C636F9A2-C84B-431D-8EC8-3C52440F1908}"/>
    <pc:docChg chg="custSel addSld modSld">
      <pc:chgData name="Kümmerle, Markus" userId="edb588ad-b118-44cb-93b6-335b967c9009" providerId="ADAL" clId="{C636F9A2-C84B-431D-8EC8-3C52440F1908}" dt="2024-09-11T12:35:55.934" v="114" actId="478"/>
      <pc:docMkLst>
        <pc:docMk/>
      </pc:docMkLst>
      <pc:sldChg chg="modSp mod">
        <pc:chgData name="Kümmerle, Markus" userId="edb588ad-b118-44cb-93b6-335b967c9009" providerId="ADAL" clId="{C636F9A2-C84B-431D-8EC8-3C52440F1908}" dt="2024-09-11T06:44:25.351" v="13" actId="20577"/>
        <pc:sldMkLst>
          <pc:docMk/>
          <pc:sldMk cId="1652484770" sldId="2044"/>
        </pc:sldMkLst>
        <pc:spChg chg="mod">
          <ac:chgData name="Kümmerle, Markus" userId="edb588ad-b118-44cb-93b6-335b967c9009" providerId="ADAL" clId="{C636F9A2-C84B-431D-8EC8-3C52440F1908}" dt="2024-09-11T06:44:25.351" v="13" actId="20577"/>
          <ac:spMkLst>
            <pc:docMk/>
            <pc:sldMk cId="1652484770" sldId="2044"/>
            <ac:spMk id="7" creationId="{C1CBEC6C-A35E-B413-C2F0-A045C556DBD2}"/>
          </ac:spMkLst>
        </pc:spChg>
      </pc:sldChg>
      <pc:sldChg chg="modSp mod">
        <pc:chgData name="Kümmerle, Markus" userId="edb588ad-b118-44cb-93b6-335b967c9009" providerId="ADAL" clId="{C636F9A2-C84B-431D-8EC8-3C52440F1908}" dt="2024-09-11T06:47:10.776" v="32" actId="1076"/>
        <pc:sldMkLst>
          <pc:docMk/>
          <pc:sldMk cId="3521829536" sldId="2047"/>
        </pc:sldMkLst>
        <pc:spChg chg="mod">
          <ac:chgData name="Kümmerle, Markus" userId="edb588ad-b118-44cb-93b6-335b967c9009" providerId="ADAL" clId="{C636F9A2-C84B-431D-8EC8-3C52440F1908}" dt="2024-09-11T06:47:10.776" v="32" actId="1076"/>
          <ac:spMkLst>
            <pc:docMk/>
            <pc:sldMk cId="3521829536" sldId="2047"/>
            <ac:spMk id="65" creationId="{396C2282-2D19-1783-A87D-9A51D93A22B8}"/>
          </ac:spMkLst>
        </pc:spChg>
      </pc:sldChg>
      <pc:sldChg chg="addSp delSp modSp add mod">
        <pc:chgData name="Kümmerle, Markus" userId="edb588ad-b118-44cb-93b6-335b967c9009" providerId="ADAL" clId="{C636F9A2-C84B-431D-8EC8-3C52440F1908}" dt="2024-09-11T12:35:55.934" v="114" actId="478"/>
        <pc:sldMkLst>
          <pc:docMk/>
          <pc:sldMk cId="2401813771" sldId="2081"/>
        </pc:sldMkLst>
        <pc:spChg chg="del">
          <ac:chgData name="Kümmerle, Markus" userId="edb588ad-b118-44cb-93b6-335b967c9009" providerId="ADAL" clId="{C636F9A2-C84B-431D-8EC8-3C52440F1908}" dt="2024-09-11T06:49:47.691" v="90" actId="478"/>
          <ac:spMkLst>
            <pc:docMk/>
            <pc:sldMk cId="2401813771" sldId="2081"/>
            <ac:spMk id="3" creationId="{8E647F46-43FA-9881-7109-EF890823374F}"/>
          </ac:spMkLst>
        </pc:spChg>
        <pc:spChg chg="mod">
          <ac:chgData name="Kümmerle, Markus" userId="edb588ad-b118-44cb-93b6-335b967c9009" providerId="ADAL" clId="{C636F9A2-C84B-431D-8EC8-3C52440F1908}" dt="2024-09-11T06:49:58.267" v="92" actId="14100"/>
          <ac:spMkLst>
            <pc:docMk/>
            <pc:sldMk cId="2401813771" sldId="2081"/>
            <ac:spMk id="4" creationId="{F51E616F-C90B-DC1F-1A77-C9C879920162}"/>
          </ac:spMkLst>
        </pc:spChg>
        <pc:spChg chg="del">
          <ac:chgData name="Kümmerle, Markus" userId="edb588ad-b118-44cb-93b6-335b967c9009" providerId="ADAL" clId="{C636F9A2-C84B-431D-8EC8-3C52440F1908}" dt="2024-09-11T06:48:59.705" v="35" actId="478"/>
          <ac:spMkLst>
            <pc:docMk/>
            <pc:sldMk cId="2401813771" sldId="2081"/>
            <ac:spMk id="5" creationId="{6A60267B-553A-EF8D-5558-D14F4368F3A4}"/>
          </ac:spMkLst>
        </pc:spChg>
        <pc:spChg chg="del">
          <ac:chgData name="Kümmerle, Markus" userId="edb588ad-b118-44cb-93b6-335b967c9009" providerId="ADAL" clId="{C636F9A2-C84B-431D-8EC8-3C52440F1908}" dt="2024-09-11T06:48:59.705" v="35" actId="478"/>
          <ac:spMkLst>
            <pc:docMk/>
            <pc:sldMk cId="2401813771" sldId="2081"/>
            <ac:spMk id="6" creationId="{09B446DD-402E-8F07-4408-5F7F443541DF}"/>
          </ac:spMkLst>
        </pc:spChg>
        <pc:spChg chg="del">
          <ac:chgData name="Kümmerle, Markus" userId="edb588ad-b118-44cb-93b6-335b967c9009" providerId="ADAL" clId="{C636F9A2-C84B-431D-8EC8-3C52440F1908}" dt="2024-09-11T06:49:47.691" v="90" actId="478"/>
          <ac:spMkLst>
            <pc:docMk/>
            <pc:sldMk cId="2401813771" sldId="2081"/>
            <ac:spMk id="11" creationId="{9D0A5DD1-35F3-6B70-5D8B-DDCBCA93DD86}"/>
          </ac:spMkLst>
        </pc:spChg>
        <pc:spChg chg="del">
          <ac:chgData name="Kümmerle, Markus" userId="edb588ad-b118-44cb-93b6-335b967c9009" providerId="ADAL" clId="{C636F9A2-C84B-431D-8EC8-3C52440F1908}" dt="2024-09-11T06:49:47.691" v="90" actId="478"/>
          <ac:spMkLst>
            <pc:docMk/>
            <pc:sldMk cId="2401813771" sldId="2081"/>
            <ac:spMk id="37" creationId="{D0800B29-24D6-B138-B06E-DF8175861537}"/>
          </ac:spMkLst>
        </pc:spChg>
        <pc:spChg chg="del">
          <ac:chgData name="Kümmerle, Markus" userId="edb588ad-b118-44cb-93b6-335b967c9009" providerId="ADAL" clId="{C636F9A2-C84B-431D-8EC8-3C52440F1908}" dt="2024-09-11T06:49:04.783" v="36" actId="478"/>
          <ac:spMkLst>
            <pc:docMk/>
            <pc:sldMk cId="2401813771" sldId="2081"/>
            <ac:spMk id="43" creationId="{FA5544D7-128B-7DF5-3766-A8CE6BE53B70}"/>
          </ac:spMkLst>
        </pc:spChg>
        <pc:spChg chg="del">
          <ac:chgData name="Kümmerle, Markus" userId="edb588ad-b118-44cb-93b6-335b967c9009" providerId="ADAL" clId="{C636F9A2-C84B-431D-8EC8-3C52440F1908}" dt="2024-09-11T06:48:54.627" v="34" actId="478"/>
          <ac:spMkLst>
            <pc:docMk/>
            <pc:sldMk cId="2401813771" sldId="2081"/>
            <ac:spMk id="46" creationId="{11385DD6-55F9-5154-28C1-46F57719C73E}"/>
          </ac:spMkLst>
        </pc:spChg>
        <pc:spChg chg="del">
          <ac:chgData name="Kümmerle, Markus" userId="edb588ad-b118-44cb-93b6-335b967c9009" providerId="ADAL" clId="{C636F9A2-C84B-431D-8EC8-3C52440F1908}" dt="2024-09-11T06:48:54.627" v="34" actId="478"/>
          <ac:spMkLst>
            <pc:docMk/>
            <pc:sldMk cId="2401813771" sldId="2081"/>
            <ac:spMk id="47" creationId="{F17BE9BB-2F3E-CF24-C910-85795CEA4D9A}"/>
          </ac:spMkLst>
        </pc:spChg>
        <pc:spChg chg="del">
          <ac:chgData name="Kümmerle, Markus" userId="edb588ad-b118-44cb-93b6-335b967c9009" providerId="ADAL" clId="{C636F9A2-C84B-431D-8EC8-3C52440F1908}" dt="2024-09-11T06:48:54.627" v="34" actId="478"/>
          <ac:spMkLst>
            <pc:docMk/>
            <pc:sldMk cId="2401813771" sldId="2081"/>
            <ac:spMk id="48" creationId="{77B71EA2-DCBC-93C5-1886-833046E4FAF3}"/>
          </ac:spMkLst>
        </pc:spChg>
        <pc:spChg chg="del">
          <ac:chgData name="Kümmerle, Markus" userId="edb588ad-b118-44cb-93b6-335b967c9009" providerId="ADAL" clId="{C636F9A2-C84B-431D-8EC8-3C52440F1908}" dt="2024-09-11T06:48:54.627" v="34" actId="478"/>
          <ac:spMkLst>
            <pc:docMk/>
            <pc:sldMk cId="2401813771" sldId="2081"/>
            <ac:spMk id="49" creationId="{8E4E6095-F6B6-5002-13FD-2B16E67DDE2F}"/>
          </ac:spMkLst>
        </pc:spChg>
        <pc:spChg chg="del">
          <ac:chgData name="Kümmerle, Markus" userId="edb588ad-b118-44cb-93b6-335b967c9009" providerId="ADAL" clId="{C636F9A2-C84B-431D-8EC8-3C52440F1908}" dt="2024-09-11T06:48:54.627" v="34" actId="478"/>
          <ac:spMkLst>
            <pc:docMk/>
            <pc:sldMk cId="2401813771" sldId="2081"/>
            <ac:spMk id="50" creationId="{F3A2FCA6-0C22-45BF-634F-7154C9A75298}"/>
          </ac:spMkLst>
        </pc:spChg>
        <pc:spChg chg="del">
          <ac:chgData name="Kümmerle, Markus" userId="edb588ad-b118-44cb-93b6-335b967c9009" providerId="ADAL" clId="{C636F9A2-C84B-431D-8EC8-3C52440F1908}" dt="2024-09-11T06:48:59.705" v="35" actId="478"/>
          <ac:spMkLst>
            <pc:docMk/>
            <pc:sldMk cId="2401813771" sldId="2081"/>
            <ac:spMk id="51" creationId="{265CAE49-BEF8-CECC-7D0A-40618B0AFD87}"/>
          </ac:spMkLst>
        </pc:spChg>
        <pc:spChg chg="del">
          <ac:chgData name="Kümmerle, Markus" userId="edb588ad-b118-44cb-93b6-335b967c9009" providerId="ADAL" clId="{C636F9A2-C84B-431D-8EC8-3C52440F1908}" dt="2024-09-11T06:48:54.627" v="34" actId="478"/>
          <ac:spMkLst>
            <pc:docMk/>
            <pc:sldMk cId="2401813771" sldId="2081"/>
            <ac:spMk id="52" creationId="{FD9F030F-E61E-D380-6B68-57E01E58CFE4}"/>
          </ac:spMkLst>
        </pc:spChg>
        <pc:spChg chg="del">
          <ac:chgData name="Kümmerle, Markus" userId="edb588ad-b118-44cb-93b6-335b967c9009" providerId="ADAL" clId="{C636F9A2-C84B-431D-8EC8-3C52440F1908}" dt="2024-09-11T06:48:54.627" v="34" actId="478"/>
          <ac:spMkLst>
            <pc:docMk/>
            <pc:sldMk cId="2401813771" sldId="2081"/>
            <ac:spMk id="53" creationId="{5090D71E-A33B-F329-365D-BC59EA3F6DE4}"/>
          </ac:spMkLst>
        </pc:spChg>
        <pc:spChg chg="del">
          <ac:chgData name="Kümmerle, Markus" userId="edb588ad-b118-44cb-93b6-335b967c9009" providerId="ADAL" clId="{C636F9A2-C84B-431D-8EC8-3C52440F1908}" dt="2024-09-11T06:48:54.627" v="34" actId="478"/>
          <ac:spMkLst>
            <pc:docMk/>
            <pc:sldMk cId="2401813771" sldId="2081"/>
            <ac:spMk id="54" creationId="{4D5D9B17-CAEE-7012-9FF1-3ED57202DF14}"/>
          </ac:spMkLst>
        </pc:spChg>
        <pc:spChg chg="del">
          <ac:chgData name="Kümmerle, Markus" userId="edb588ad-b118-44cb-93b6-335b967c9009" providerId="ADAL" clId="{C636F9A2-C84B-431D-8EC8-3C52440F1908}" dt="2024-09-11T06:48:59.705" v="35" actId="478"/>
          <ac:spMkLst>
            <pc:docMk/>
            <pc:sldMk cId="2401813771" sldId="2081"/>
            <ac:spMk id="55" creationId="{D2397C34-D309-C75C-D946-29B33D30265C}"/>
          </ac:spMkLst>
        </pc:spChg>
        <pc:spChg chg="del">
          <ac:chgData name="Kümmerle, Markus" userId="edb588ad-b118-44cb-93b6-335b967c9009" providerId="ADAL" clId="{C636F9A2-C84B-431D-8EC8-3C52440F1908}" dt="2024-09-11T06:48:54.627" v="34" actId="478"/>
          <ac:spMkLst>
            <pc:docMk/>
            <pc:sldMk cId="2401813771" sldId="2081"/>
            <ac:spMk id="56" creationId="{D9F2D2C6-6622-9082-395A-A5AC6786062A}"/>
          </ac:spMkLst>
        </pc:spChg>
        <pc:spChg chg="add del mod">
          <ac:chgData name="Kümmerle, Markus" userId="edb588ad-b118-44cb-93b6-335b967c9009" providerId="ADAL" clId="{C636F9A2-C84B-431D-8EC8-3C52440F1908}" dt="2024-09-11T12:35:55.934" v="114" actId="478"/>
          <ac:spMkLst>
            <pc:docMk/>
            <pc:sldMk cId="2401813771" sldId="2081"/>
            <ac:spMk id="56" creationId="{F74B81FF-DF9D-E683-0E0F-1CEC7D9906BA}"/>
          </ac:spMkLst>
        </pc:spChg>
        <pc:spChg chg="del">
          <ac:chgData name="Kümmerle, Markus" userId="edb588ad-b118-44cb-93b6-335b967c9009" providerId="ADAL" clId="{C636F9A2-C84B-431D-8EC8-3C52440F1908}" dt="2024-09-11T06:48:59.705" v="35" actId="478"/>
          <ac:spMkLst>
            <pc:docMk/>
            <pc:sldMk cId="2401813771" sldId="2081"/>
            <ac:spMk id="57" creationId="{5C25AA9B-3C43-0477-3529-AC38630DC3EE}"/>
          </ac:spMkLst>
        </pc:spChg>
        <pc:spChg chg="del">
          <ac:chgData name="Kümmerle, Markus" userId="edb588ad-b118-44cb-93b6-335b967c9009" providerId="ADAL" clId="{C636F9A2-C84B-431D-8EC8-3C52440F1908}" dt="2024-09-11T06:48:59.705" v="35" actId="478"/>
          <ac:spMkLst>
            <pc:docMk/>
            <pc:sldMk cId="2401813771" sldId="2081"/>
            <ac:spMk id="58" creationId="{40DE9880-1276-FD40-12ED-16D0030E9F42}"/>
          </ac:spMkLst>
        </pc:spChg>
        <pc:spChg chg="del">
          <ac:chgData name="Kümmerle, Markus" userId="edb588ad-b118-44cb-93b6-335b967c9009" providerId="ADAL" clId="{C636F9A2-C84B-431D-8EC8-3C52440F1908}" dt="2024-09-11T06:48:59.705" v="35" actId="478"/>
          <ac:spMkLst>
            <pc:docMk/>
            <pc:sldMk cId="2401813771" sldId="2081"/>
            <ac:spMk id="59" creationId="{7E9C522A-63A8-2B4E-4257-0387FDC808B3}"/>
          </ac:spMkLst>
        </pc:spChg>
        <pc:spChg chg="del">
          <ac:chgData name="Kümmerle, Markus" userId="edb588ad-b118-44cb-93b6-335b967c9009" providerId="ADAL" clId="{C636F9A2-C84B-431D-8EC8-3C52440F1908}" dt="2024-09-11T06:48:59.705" v="35" actId="478"/>
          <ac:spMkLst>
            <pc:docMk/>
            <pc:sldMk cId="2401813771" sldId="2081"/>
            <ac:spMk id="60" creationId="{8548EC94-6258-41D3-C5DE-D77C7A0A245A}"/>
          </ac:spMkLst>
        </pc:spChg>
        <pc:spChg chg="del">
          <ac:chgData name="Kümmerle, Markus" userId="edb588ad-b118-44cb-93b6-335b967c9009" providerId="ADAL" clId="{C636F9A2-C84B-431D-8EC8-3C52440F1908}" dt="2024-09-11T06:48:59.705" v="35" actId="478"/>
          <ac:spMkLst>
            <pc:docMk/>
            <pc:sldMk cId="2401813771" sldId="2081"/>
            <ac:spMk id="61" creationId="{EFADD028-AAA6-9CAB-F706-C09606E0F364}"/>
          </ac:spMkLst>
        </pc:spChg>
        <pc:spChg chg="del">
          <ac:chgData name="Kümmerle, Markus" userId="edb588ad-b118-44cb-93b6-335b967c9009" providerId="ADAL" clId="{C636F9A2-C84B-431D-8EC8-3C52440F1908}" dt="2024-09-11T06:48:59.705" v="35" actId="478"/>
          <ac:spMkLst>
            <pc:docMk/>
            <pc:sldMk cId="2401813771" sldId="2081"/>
            <ac:spMk id="62" creationId="{8956C84D-1880-EFE8-074D-625E06523BEF}"/>
          </ac:spMkLst>
        </pc:spChg>
        <pc:spChg chg="del">
          <ac:chgData name="Kümmerle, Markus" userId="edb588ad-b118-44cb-93b6-335b967c9009" providerId="ADAL" clId="{C636F9A2-C84B-431D-8EC8-3C52440F1908}" dt="2024-09-11T06:48:59.705" v="35" actId="478"/>
          <ac:spMkLst>
            <pc:docMk/>
            <pc:sldMk cId="2401813771" sldId="2081"/>
            <ac:spMk id="63" creationId="{59876FF9-E7E9-3B9B-D05B-99637DB36E1F}"/>
          </ac:spMkLst>
        </pc:spChg>
        <pc:spChg chg="del">
          <ac:chgData name="Kümmerle, Markus" userId="edb588ad-b118-44cb-93b6-335b967c9009" providerId="ADAL" clId="{C636F9A2-C84B-431D-8EC8-3C52440F1908}" dt="2024-09-11T06:48:59.705" v="35" actId="478"/>
          <ac:spMkLst>
            <pc:docMk/>
            <pc:sldMk cId="2401813771" sldId="2081"/>
            <ac:spMk id="64" creationId="{76DC8012-031A-B30C-BA2F-FA5B47C53244}"/>
          </ac:spMkLst>
        </pc:spChg>
        <pc:spChg chg="del">
          <ac:chgData name="Kümmerle, Markus" userId="edb588ad-b118-44cb-93b6-335b967c9009" providerId="ADAL" clId="{C636F9A2-C84B-431D-8EC8-3C52440F1908}" dt="2024-09-11T06:48:59.705" v="35" actId="478"/>
          <ac:spMkLst>
            <pc:docMk/>
            <pc:sldMk cId="2401813771" sldId="2081"/>
            <ac:spMk id="65" creationId="{A91C4C32-4D77-8807-C21F-092ACBC74165}"/>
          </ac:spMkLst>
        </pc:spChg>
        <pc:spChg chg="del">
          <ac:chgData name="Kümmerle, Markus" userId="edb588ad-b118-44cb-93b6-335b967c9009" providerId="ADAL" clId="{C636F9A2-C84B-431D-8EC8-3C52440F1908}" dt="2024-09-11T06:48:59.705" v="35" actId="478"/>
          <ac:spMkLst>
            <pc:docMk/>
            <pc:sldMk cId="2401813771" sldId="2081"/>
            <ac:spMk id="66" creationId="{FBFA035F-B314-53F3-E676-7BD978DC0F44}"/>
          </ac:spMkLst>
        </pc:spChg>
        <pc:spChg chg="del">
          <ac:chgData name="Kümmerle, Markus" userId="edb588ad-b118-44cb-93b6-335b967c9009" providerId="ADAL" clId="{C636F9A2-C84B-431D-8EC8-3C52440F1908}" dt="2024-09-11T06:48:59.705" v="35" actId="478"/>
          <ac:spMkLst>
            <pc:docMk/>
            <pc:sldMk cId="2401813771" sldId="2081"/>
            <ac:spMk id="67" creationId="{54E7F9BA-D1B0-6A5D-CAAE-3390D6865767}"/>
          </ac:spMkLst>
        </pc:spChg>
        <pc:spChg chg="del">
          <ac:chgData name="Kümmerle, Markus" userId="edb588ad-b118-44cb-93b6-335b967c9009" providerId="ADAL" clId="{C636F9A2-C84B-431D-8EC8-3C52440F1908}" dt="2024-09-11T06:48:59.705" v="35" actId="478"/>
          <ac:spMkLst>
            <pc:docMk/>
            <pc:sldMk cId="2401813771" sldId="2081"/>
            <ac:spMk id="68" creationId="{C2E99B9B-F1D5-B83C-636A-9F6FB3B1BE94}"/>
          </ac:spMkLst>
        </pc:spChg>
        <pc:spChg chg="del">
          <ac:chgData name="Kümmerle, Markus" userId="edb588ad-b118-44cb-93b6-335b967c9009" providerId="ADAL" clId="{C636F9A2-C84B-431D-8EC8-3C52440F1908}" dt="2024-09-11T06:48:59.705" v="35" actId="478"/>
          <ac:spMkLst>
            <pc:docMk/>
            <pc:sldMk cId="2401813771" sldId="2081"/>
            <ac:spMk id="69" creationId="{DA9FC3D7-0872-CA09-A677-609F8427F224}"/>
          </ac:spMkLst>
        </pc:spChg>
        <pc:spChg chg="del">
          <ac:chgData name="Kümmerle, Markus" userId="edb588ad-b118-44cb-93b6-335b967c9009" providerId="ADAL" clId="{C636F9A2-C84B-431D-8EC8-3C52440F1908}" dt="2024-09-11T06:48:59.705" v="35" actId="478"/>
          <ac:spMkLst>
            <pc:docMk/>
            <pc:sldMk cId="2401813771" sldId="2081"/>
            <ac:spMk id="70" creationId="{80ABF4DD-4496-A90C-9CE7-E2C8F82020C3}"/>
          </ac:spMkLst>
        </pc:spChg>
        <pc:spChg chg="del">
          <ac:chgData name="Kümmerle, Markus" userId="edb588ad-b118-44cb-93b6-335b967c9009" providerId="ADAL" clId="{C636F9A2-C84B-431D-8EC8-3C52440F1908}" dt="2024-09-11T06:48:59.705" v="35" actId="478"/>
          <ac:spMkLst>
            <pc:docMk/>
            <pc:sldMk cId="2401813771" sldId="2081"/>
            <ac:spMk id="71" creationId="{D84E9F32-C3F4-25C3-4005-2A550963642F}"/>
          </ac:spMkLst>
        </pc:spChg>
        <pc:spChg chg="del">
          <ac:chgData name="Kümmerle, Markus" userId="edb588ad-b118-44cb-93b6-335b967c9009" providerId="ADAL" clId="{C636F9A2-C84B-431D-8EC8-3C52440F1908}" dt="2024-09-11T06:48:59.705" v="35" actId="478"/>
          <ac:spMkLst>
            <pc:docMk/>
            <pc:sldMk cId="2401813771" sldId="2081"/>
            <ac:spMk id="73" creationId="{26079A6A-DA67-26C5-34E0-BC6ADB678D47}"/>
          </ac:spMkLst>
        </pc:spChg>
        <pc:spChg chg="del">
          <ac:chgData name="Kümmerle, Markus" userId="edb588ad-b118-44cb-93b6-335b967c9009" providerId="ADAL" clId="{C636F9A2-C84B-431D-8EC8-3C52440F1908}" dt="2024-09-11T06:48:59.705" v="35" actId="478"/>
          <ac:spMkLst>
            <pc:docMk/>
            <pc:sldMk cId="2401813771" sldId="2081"/>
            <ac:spMk id="74" creationId="{F0AAB509-34AF-2E8F-480A-285702B3FD7F}"/>
          </ac:spMkLst>
        </pc:spChg>
        <pc:spChg chg="del">
          <ac:chgData name="Kümmerle, Markus" userId="edb588ad-b118-44cb-93b6-335b967c9009" providerId="ADAL" clId="{C636F9A2-C84B-431D-8EC8-3C52440F1908}" dt="2024-09-11T06:48:59.705" v="35" actId="478"/>
          <ac:spMkLst>
            <pc:docMk/>
            <pc:sldMk cId="2401813771" sldId="2081"/>
            <ac:spMk id="75" creationId="{BCE253F8-A0B9-06F5-D324-C60C4DF35D8C}"/>
          </ac:spMkLst>
        </pc:spChg>
        <pc:spChg chg="add mod">
          <ac:chgData name="Kümmerle, Markus" userId="edb588ad-b118-44cb-93b6-335b967c9009" providerId="ADAL" clId="{C636F9A2-C84B-431D-8EC8-3C52440F1908}" dt="2024-09-11T06:50:22.283" v="107" actId="207"/>
          <ac:spMkLst>
            <pc:docMk/>
            <pc:sldMk cId="2401813771" sldId="2081"/>
            <ac:spMk id="76" creationId="{ADF51D14-BE49-1DFE-FFA0-29B6BD49A734}"/>
          </ac:spMkLst>
        </pc:spChg>
        <pc:spChg chg="del">
          <ac:chgData name="Kümmerle, Markus" userId="edb588ad-b118-44cb-93b6-335b967c9009" providerId="ADAL" clId="{C636F9A2-C84B-431D-8EC8-3C52440F1908}" dt="2024-09-11T06:48:59.705" v="35" actId="478"/>
          <ac:spMkLst>
            <pc:docMk/>
            <pc:sldMk cId="2401813771" sldId="2081"/>
            <ac:spMk id="103" creationId="{6DB7207C-3612-DF76-63C2-F2909FDCE771}"/>
          </ac:spMkLst>
        </pc:spChg>
        <pc:spChg chg="del">
          <ac:chgData name="Kümmerle, Markus" userId="edb588ad-b118-44cb-93b6-335b967c9009" providerId="ADAL" clId="{C636F9A2-C84B-431D-8EC8-3C52440F1908}" dt="2024-09-11T06:48:59.705" v="35" actId="478"/>
          <ac:spMkLst>
            <pc:docMk/>
            <pc:sldMk cId="2401813771" sldId="2081"/>
            <ac:spMk id="105" creationId="{C3052D91-DCEC-1434-5A07-C542C73044C1}"/>
          </ac:spMkLst>
        </pc:spChg>
        <pc:spChg chg="del">
          <ac:chgData name="Kümmerle, Markus" userId="edb588ad-b118-44cb-93b6-335b967c9009" providerId="ADAL" clId="{C636F9A2-C84B-431D-8EC8-3C52440F1908}" dt="2024-09-11T06:48:54.627" v="34" actId="478"/>
          <ac:spMkLst>
            <pc:docMk/>
            <pc:sldMk cId="2401813771" sldId="2081"/>
            <ac:spMk id="112" creationId="{055DD645-212E-1B41-DB5F-1B0B69D3040E}"/>
          </ac:spMkLst>
        </pc:spChg>
        <pc:grpChg chg="del">
          <ac:chgData name="Kümmerle, Markus" userId="edb588ad-b118-44cb-93b6-335b967c9009" providerId="ADAL" clId="{C636F9A2-C84B-431D-8EC8-3C52440F1908}" dt="2024-09-11T06:49:47.691" v="90" actId="478"/>
          <ac:grpSpMkLst>
            <pc:docMk/>
            <pc:sldMk cId="2401813771" sldId="2081"/>
            <ac:grpSpMk id="44" creationId="{38BE1B03-C985-C00B-92BC-0B374D9D19EF}"/>
          </ac:grpSpMkLst>
        </pc:grpChg>
        <pc:grpChg chg="del">
          <ac:chgData name="Kümmerle, Markus" userId="edb588ad-b118-44cb-93b6-335b967c9009" providerId="ADAL" clId="{C636F9A2-C84B-431D-8EC8-3C52440F1908}" dt="2024-09-11T06:49:47.691" v="90" actId="478"/>
          <ac:grpSpMkLst>
            <pc:docMk/>
            <pc:sldMk cId="2401813771" sldId="2081"/>
            <ac:grpSpMk id="45" creationId="{977F0587-09FE-B3EE-BE8C-9066023C9909}"/>
          </ac:grpSpMkLst>
        </pc:grpChg>
        <pc:grpChg chg="del">
          <ac:chgData name="Kümmerle, Markus" userId="edb588ad-b118-44cb-93b6-335b967c9009" providerId="ADAL" clId="{C636F9A2-C84B-431D-8EC8-3C52440F1908}" dt="2024-09-11T06:48:54.627" v="34" actId="478"/>
          <ac:grpSpMkLst>
            <pc:docMk/>
            <pc:sldMk cId="2401813771" sldId="2081"/>
            <ac:grpSpMk id="80" creationId="{4774F83B-4FDF-8A5A-50E2-06BB694B1BC6}"/>
          </ac:grpSpMkLst>
        </pc:grpChg>
        <pc:grpChg chg="del">
          <ac:chgData name="Kümmerle, Markus" userId="edb588ad-b118-44cb-93b6-335b967c9009" providerId="ADAL" clId="{C636F9A2-C84B-431D-8EC8-3C52440F1908}" dt="2024-09-11T06:48:54.627" v="34" actId="478"/>
          <ac:grpSpMkLst>
            <pc:docMk/>
            <pc:sldMk cId="2401813771" sldId="2081"/>
            <ac:grpSpMk id="81" creationId="{CD3381F4-425F-DE49-1EE3-8126B4FD2A52}"/>
          </ac:grpSpMkLst>
        </pc:grpChg>
        <pc:grpChg chg="del">
          <ac:chgData name="Kümmerle, Markus" userId="edb588ad-b118-44cb-93b6-335b967c9009" providerId="ADAL" clId="{C636F9A2-C84B-431D-8EC8-3C52440F1908}" dt="2024-09-11T06:49:47.691" v="90" actId="478"/>
          <ac:grpSpMkLst>
            <pc:docMk/>
            <pc:sldMk cId="2401813771" sldId="2081"/>
            <ac:grpSpMk id="86" creationId="{E82CAC40-E2BB-02C2-2B1E-F874A82688A1}"/>
          </ac:grpSpMkLst>
        </pc:grpChg>
        <pc:grpChg chg="del">
          <ac:chgData name="Kümmerle, Markus" userId="edb588ad-b118-44cb-93b6-335b967c9009" providerId="ADAL" clId="{C636F9A2-C84B-431D-8EC8-3C52440F1908}" dt="2024-09-11T06:49:47.691" v="90" actId="478"/>
          <ac:grpSpMkLst>
            <pc:docMk/>
            <pc:sldMk cId="2401813771" sldId="2081"/>
            <ac:grpSpMk id="88" creationId="{D76215A7-83EE-8191-C664-D0F611E2601A}"/>
          </ac:grpSpMkLst>
        </pc:grpChg>
        <pc:grpChg chg="del">
          <ac:chgData name="Kümmerle, Markus" userId="edb588ad-b118-44cb-93b6-335b967c9009" providerId="ADAL" clId="{C636F9A2-C84B-431D-8EC8-3C52440F1908}" dt="2024-09-11T06:49:47.691" v="90" actId="478"/>
          <ac:grpSpMkLst>
            <pc:docMk/>
            <pc:sldMk cId="2401813771" sldId="2081"/>
            <ac:grpSpMk id="90" creationId="{67433AFD-C83D-3331-5AB9-95B263FF0F3B}"/>
          </ac:grpSpMkLst>
        </pc:grpChg>
        <pc:grpChg chg="del">
          <ac:chgData name="Kümmerle, Markus" userId="edb588ad-b118-44cb-93b6-335b967c9009" providerId="ADAL" clId="{C636F9A2-C84B-431D-8EC8-3C52440F1908}" dt="2024-09-11T06:48:54.627" v="34" actId="478"/>
          <ac:grpSpMkLst>
            <pc:docMk/>
            <pc:sldMk cId="2401813771" sldId="2081"/>
            <ac:grpSpMk id="91" creationId="{4D8CAE20-50CC-93EC-5989-4D2CEA6B19B1}"/>
          </ac:grpSpMkLst>
        </pc:grpChg>
        <pc:grpChg chg="del">
          <ac:chgData name="Kümmerle, Markus" userId="edb588ad-b118-44cb-93b6-335b967c9009" providerId="ADAL" clId="{C636F9A2-C84B-431D-8EC8-3C52440F1908}" dt="2024-09-11T06:48:54.627" v="34" actId="478"/>
          <ac:grpSpMkLst>
            <pc:docMk/>
            <pc:sldMk cId="2401813771" sldId="2081"/>
            <ac:grpSpMk id="92" creationId="{31374D2A-BB49-FD61-6260-BAFEE19DE265}"/>
          </ac:grpSpMkLst>
        </pc:grpChg>
        <pc:grpChg chg="del">
          <ac:chgData name="Kümmerle, Markus" userId="edb588ad-b118-44cb-93b6-335b967c9009" providerId="ADAL" clId="{C636F9A2-C84B-431D-8EC8-3C52440F1908}" dt="2024-09-11T06:48:54.627" v="34" actId="478"/>
          <ac:grpSpMkLst>
            <pc:docMk/>
            <pc:sldMk cId="2401813771" sldId="2081"/>
            <ac:grpSpMk id="95" creationId="{C0948933-CBB3-02F6-471B-B2C12284FCC4}"/>
          </ac:grpSpMkLst>
        </pc:grpChg>
        <pc:grpChg chg="del">
          <ac:chgData name="Kümmerle, Markus" userId="edb588ad-b118-44cb-93b6-335b967c9009" providerId="ADAL" clId="{C636F9A2-C84B-431D-8EC8-3C52440F1908}" dt="2024-09-11T06:48:54.627" v="34" actId="478"/>
          <ac:grpSpMkLst>
            <pc:docMk/>
            <pc:sldMk cId="2401813771" sldId="2081"/>
            <ac:grpSpMk id="96" creationId="{B14E5A88-11AC-A164-840D-7CD0C8B939D3}"/>
          </ac:grpSpMkLst>
        </pc:grpChg>
        <pc:grpChg chg="del">
          <ac:chgData name="Kümmerle, Markus" userId="edb588ad-b118-44cb-93b6-335b967c9009" providerId="ADAL" clId="{C636F9A2-C84B-431D-8EC8-3C52440F1908}" dt="2024-09-11T06:48:54.627" v="34" actId="478"/>
          <ac:grpSpMkLst>
            <pc:docMk/>
            <pc:sldMk cId="2401813771" sldId="2081"/>
            <ac:grpSpMk id="106" creationId="{5639D16C-2BBD-78F2-DC34-C0F8C52DCD5F}"/>
          </ac:grpSpMkLst>
        </pc:grpChg>
        <pc:grpChg chg="del">
          <ac:chgData name="Kümmerle, Markus" userId="edb588ad-b118-44cb-93b6-335b967c9009" providerId="ADAL" clId="{C636F9A2-C84B-431D-8EC8-3C52440F1908}" dt="2024-09-11T06:48:54.627" v="34" actId="478"/>
          <ac:grpSpMkLst>
            <pc:docMk/>
            <pc:sldMk cId="2401813771" sldId="2081"/>
            <ac:grpSpMk id="118" creationId="{DF69FCD6-FFB2-90CE-0772-9F53CE4B45C5}"/>
          </ac:grpSpMkLst>
        </pc:grpChg>
        <pc:grpChg chg="del">
          <ac:chgData name="Kümmerle, Markus" userId="edb588ad-b118-44cb-93b6-335b967c9009" providerId="ADAL" clId="{C636F9A2-C84B-431D-8EC8-3C52440F1908}" dt="2024-09-11T06:48:54.627" v="34" actId="478"/>
          <ac:grpSpMkLst>
            <pc:docMk/>
            <pc:sldMk cId="2401813771" sldId="2081"/>
            <ac:grpSpMk id="123" creationId="{D8EE031F-06C7-0616-AF1E-C71C964363CE}"/>
          </ac:grpSpMkLst>
        </pc:grpChg>
        <pc:graphicFrameChg chg="mod">
          <ac:chgData name="Kümmerle, Markus" userId="edb588ad-b118-44cb-93b6-335b967c9009" providerId="ADAL" clId="{C636F9A2-C84B-431D-8EC8-3C52440F1908}" dt="2024-09-11T11:09:10.833" v="109"/>
          <ac:graphicFrameMkLst>
            <pc:docMk/>
            <pc:sldMk cId="2401813771" sldId="2081"/>
            <ac:graphicFrameMk id="72" creationId="{A1162339-D875-1371-6C50-CD3F3E8A1E3E}"/>
          </ac:graphicFrameMkLst>
        </pc:graphicFrame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3169919" cy="617220"/>
          </a:xfrm>
          <a:prstGeom prst="rect">
            <a:avLst/>
          </a:prstGeom>
        </p:spPr>
        <p:txBody>
          <a:bodyPr vert="horz" lIns="107551" tIns="53775" rIns="107551" bIns="53775" rtlCol="0"/>
          <a:lstStyle>
            <a:lvl1pPr algn="l">
              <a:defRPr sz="14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143589" y="0"/>
            <a:ext cx="3169919" cy="617220"/>
          </a:xfrm>
          <a:prstGeom prst="rect">
            <a:avLst/>
          </a:prstGeom>
        </p:spPr>
        <p:txBody>
          <a:bodyPr vert="horz" lIns="107551" tIns="53775" rIns="107551" bIns="53775" rtlCol="0"/>
          <a:lstStyle>
            <a:lvl1pPr algn="r">
              <a:defRPr sz="1400"/>
            </a:lvl1pPr>
          </a:lstStyle>
          <a:p>
            <a:fld id="{9847C1C0-7CF7-4E43-8415-72BC7E37BCB3}" type="datetimeFigureOut">
              <a:rPr lang="de-DE" smtClean="0"/>
              <a:pPr/>
              <a:t>13.09.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-454025" y="925513"/>
            <a:ext cx="8223250" cy="4629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07551" tIns="53775" rIns="107551" bIns="53775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31520" y="5863591"/>
            <a:ext cx="5852160" cy="5554980"/>
          </a:xfrm>
          <a:prstGeom prst="rect">
            <a:avLst/>
          </a:prstGeom>
        </p:spPr>
        <p:txBody>
          <a:bodyPr vert="horz" lIns="107551" tIns="53775" rIns="107551" bIns="53775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11725039"/>
            <a:ext cx="3169919" cy="617220"/>
          </a:xfrm>
          <a:prstGeom prst="rect">
            <a:avLst/>
          </a:prstGeom>
        </p:spPr>
        <p:txBody>
          <a:bodyPr vert="horz" lIns="107551" tIns="53775" rIns="107551" bIns="53775" rtlCol="0" anchor="b"/>
          <a:lstStyle>
            <a:lvl1pPr algn="l">
              <a:defRPr sz="14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143589" y="11725039"/>
            <a:ext cx="3169919" cy="617220"/>
          </a:xfrm>
          <a:prstGeom prst="rect">
            <a:avLst/>
          </a:prstGeom>
        </p:spPr>
        <p:txBody>
          <a:bodyPr vert="horz" lIns="107551" tIns="53775" rIns="107551" bIns="53775" rtlCol="0" anchor="b"/>
          <a:lstStyle>
            <a:lvl1pPr algn="r">
              <a:defRPr sz="1400"/>
            </a:lvl1pPr>
          </a:lstStyle>
          <a:p>
            <a:fld id="{DD817DD0-38E7-46ED-A2FE-994A5C24976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970372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817DD0-38E7-46ED-A2FE-994A5C249761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965117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62B8854-A431-D820-20B6-3FC69FA20A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01E9359F-5ED8-9D32-5E6F-70D2A47983A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88D694ED-8A3F-045F-98C9-0ABDE7DCEFC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ECDCBB5-B734-3C7D-8437-D9EF9403826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817DD0-38E7-46ED-A2FE-994A5C249761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4884267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62B8854-A431-D820-20B6-3FC69FA20A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01E9359F-5ED8-9D32-5E6F-70D2A47983A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88D694ED-8A3F-045F-98C9-0ABDE7DCEFC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ECDCBB5-B734-3C7D-8437-D9EF9403826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817DD0-38E7-46ED-A2FE-994A5C249761}" type="slidenum">
              <a:rPr lang="de-DE" smtClean="0"/>
              <a:pPr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64325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3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ue">
    <p:bg>
      <p:bgPr>
        <a:blipFill dpi="0" rotWithShape="1">
          <a:blip r:embed="rId3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3556048"/>
              </p:ext>
            </p:extLst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feld 8"/>
          <p:cNvSpPr txBox="1"/>
          <p:nvPr userDrawn="1"/>
        </p:nvSpPr>
        <p:spPr>
          <a:xfrm>
            <a:off x="4999758" y="6073627"/>
            <a:ext cx="1615148" cy="2619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de-DE" sz="180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324304" y="2834820"/>
            <a:ext cx="8886496" cy="2217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4000"/>
              </a:lnSpc>
              <a:spcBef>
                <a:spcPts val="0"/>
              </a:spcBef>
              <a:defRPr sz="4400" b="0" i="0" baseline="0">
                <a:solidFill>
                  <a:schemeClr val="bg1"/>
                </a:solidFill>
                <a:latin typeface="Montserrat Light" pitchFamily="2" charset="77"/>
                <a:ea typeface="Montserrat Light" pitchFamily="2" charset="77"/>
              </a:defRPr>
            </a:lvl1pPr>
          </a:lstStyle>
          <a:p>
            <a:pPr lvl="0"/>
            <a:r>
              <a:rPr lang="de-DE" dirty="0"/>
              <a:t>Montserrat Light</a:t>
            </a:r>
            <a:br>
              <a:rPr lang="de-DE" dirty="0"/>
            </a:br>
            <a:r>
              <a:rPr lang="de-DE" dirty="0"/>
              <a:t>Maximum 3 </a:t>
            </a:r>
            <a:r>
              <a:rPr lang="de-DE" dirty="0" err="1"/>
              <a:t>lines</a:t>
            </a:r>
            <a:br>
              <a:rPr lang="de-DE" dirty="0"/>
            </a:br>
            <a:r>
              <a:rPr lang="de-DE" dirty="0"/>
              <a:t>44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 hasCustomPrompt="1"/>
          </p:nvPr>
        </p:nvSpPr>
        <p:spPr>
          <a:xfrm>
            <a:off x="1324304" y="5484422"/>
            <a:ext cx="8886496" cy="29944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2000" b="0" i="0" baseline="0">
                <a:solidFill>
                  <a:schemeClr val="bg1"/>
                </a:solidFill>
                <a:latin typeface="Montserrat Light" pitchFamily="2" charset="77"/>
                <a:ea typeface="Montserrat Light" pitchFamily="2" charset="77"/>
              </a:defRPr>
            </a:lvl1pPr>
            <a:lvl5pPr>
              <a:defRPr/>
            </a:lvl5pPr>
          </a:lstStyle>
          <a:p>
            <a:pPr lvl="0"/>
            <a:r>
              <a:rPr lang="de-DE" dirty="0" err="1"/>
              <a:t>Subheading</a:t>
            </a:r>
            <a:r>
              <a:rPr lang="de-DE" dirty="0"/>
              <a:t> Montserrat Light, 20 </a:t>
            </a:r>
            <a:r>
              <a:rPr lang="de-DE" dirty="0" err="1"/>
              <a:t>pt</a:t>
            </a:r>
            <a:endParaRPr lang="de-DE" dirty="0"/>
          </a:p>
        </p:txBody>
      </p:sp>
      <p:grpSp>
        <p:nvGrpSpPr>
          <p:cNvPr id="147" name="Gruppieren 146"/>
          <p:cNvGrpSpPr/>
          <p:nvPr userDrawn="1"/>
        </p:nvGrpSpPr>
        <p:grpSpPr>
          <a:xfrm>
            <a:off x="-348582" y="-308570"/>
            <a:ext cx="12206900" cy="7126900"/>
            <a:chOff x="-348582" y="-308570"/>
            <a:chExt cx="12206900" cy="7126900"/>
          </a:xfrm>
        </p:grpSpPr>
        <p:grpSp>
          <p:nvGrpSpPr>
            <p:cNvPr id="148" name="Gruppieren 147"/>
            <p:cNvGrpSpPr/>
            <p:nvPr userDrawn="1"/>
          </p:nvGrpSpPr>
          <p:grpSpPr>
            <a:xfrm>
              <a:off x="-348582" y="362069"/>
              <a:ext cx="180000" cy="5931473"/>
              <a:chOff x="-348582" y="362069"/>
              <a:chExt cx="180000" cy="5931473"/>
            </a:xfrm>
          </p:grpSpPr>
          <p:cxnSp>
            <p:nvCxnSpPr>
              <p:cNvPr id="175" name="Gerade Verbindung 6"/>
              <p:cNvCxnSpPr/>
              <p:nvPr userDrawn="1"/>
            </p:nvCxnSpPr>
            <p:spPr>
              <a:xfrm>
                <a:off x="-348582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Gerade Verbindung 7"/>
              <p:cNvCxnSpPr/>
              <p:nvPr userDrawn="1"/>
            </p:nvCxnSpPr>
            <p:spPr>
              <a:xfrm>
                <a:off x="-348582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Gerade Verbindung 8"/>
              <p:cNvCxnSpPr/>
              <p:nvPr userDrawn="1"/>
            </p:nvCxnSpPr>
            <p:spPr>
              <a:xfrm>
                <a:off x="-348582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Gerade Verbindung 9"/>
              <p:cNvCxnSpPr/>
              <p:nvPr userDrawn="1"/>
            </p:nvCxnSpPr>
            <p:spPr>
              <a:xfrm>
                <a:off x="-348582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Gerade Verbindung 10"/>
              <p:cNvCxnSpPr/>
              <p:nvPr userDrawn="1"/>
            </p:nvCxnSpPr>
            <p:spPr>
              <a:xfrm>
                <a:off x="-348582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Gerade Verbindung 11"/>
              <p:cNvCxnSpPr/>
              <p:nvPr userDrawn="1"/>
            </p:nvCxnSpPr>
            <p:spPr>
              <a:xfrm>
                <a:off x="-348582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Gerade Verbindung 12"/>
              <p:cNvCxnSpPr/>
              <p:nvPr userDrawn="1"/>
            </p:nvCxnSpPr>
            <p:spPr>
              <a:xfrm>
                <a:off x="-348582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9" name="Gruppieren 148"/>
            <p:cNvGrpSpPr/>
            <p:nvPr userDrawn="1"/>
          </p:nvGrpSpPr>
          <p:grpSpPr>
            <a:xfrm>
              <a:off x="11678318" y="362069"/>
              <a:ext cx="180000" cy="5931473"/>
              <a:chOff x="11678318" y="362069"/>
              <a:chExt cx="180000" cy="5931473"/>
            </a:xfrm>
          </p:grpSpPr>
          <p:cxnSp>
            <p:nvCxnSpPr>
              <p:cNvPr id="168" name="Gerade Verbindung 56"/>
              <p:cNvCxnSpPr/>
              <p:nvPr userDrawn="1"/>
            </p:nvCxnSpPr>
            <p:spPr>
              <a:xfrm>
                <a:off x="11678318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Gerade Verbindung 57"/>
              <p:cNvCxnSpPr/>
              <p:nvPr userDrawn="1"/>
            </p:nvCxnSpPr>
            <p:spPr>
              <a:xfrm>
                <a:off x="11678318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Gerade Verbindung 58"/>
              <p:cNvCxnSpPr/>
              <p:nvPr userDrawn="1"/>
            </p:nvCxnSpPr>
            <p:spPr>
              <a:xfrm>
                <a:off x="11678318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Gerade Verbindung 59"/>
              <p:cNvCxnSpPr/>
              <p:nvPr userDrawn="1"/>
            </p:nvCxnSpPr>
            <p:spPr>
              <a:xfrm>
                <a:off x="11678318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Gerade Verbindung 60"/>
              <p:cNvCxnSpPr/>
              <p:nvPr userDrawn="1"/>
            </p:nvCxnSpPr>
            <p:spPr>
              <a:xfrm>
                <a:off x="11678318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Gerade Verbindung 61"/>
              <p:cNvCxnSpPr/>
              <p:nvPr userDrawn="1"/>
            </p:nvCxnSpPr>
            <p:spPr>
              <a:xfrm>
                <a:off x="11678318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Gerade Verbindung 62"/>
              <p:cNvCxnSpPr/>
              <p:nvPr userDrawn="1"/>
            </p:nvCxnSpPr>
            <p:spPr>
              <a:xfrm>
                <a:off x="11678318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0" name="Gruppieren 149"/>
            <p:cNvGrpSpPr/>
            <p:nvPr userDrawn="1"/>
          </p:nvGrpSpPr>
          <p:grpSpPr>
            <a:xfrm>
              <a:off x="288925" y="6638330"/>
              <a:ext cx="10944224" cy="180000"/>
              <a:chOff x="288925" y="6638330"/>
              <a:chExt cx="10944224" cy="180000"/>
            </a:xfrm>
          </p:grpSpPr>
          <p:cxnSp>
            <p:nvCxnSpPr>
              <p:cNvPr id="160" name="Gerade Verbindung 65"/>
              <p:cNvCxnSpPr/>
              <p:nvPr userDrawn="1"/>
            </p:nvCxnSpPr>
            <p:spPr>
              <a:xfrm>
                <a:off x="28892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Gerade Verbindung 74"/>
              <p:cNvCxnSpPr/>
              <p:nvPr userDrawn="1"/>
            </p:nvCxnSpPr>
            <p:spPr>
              <a:xfrm>
                <a:off x="291147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Gerade Verbindung 75"/>
              <p:cNvCxnSpPr/>
              <p:nvPr userDrawn="1"/>
            </p:nvCxnSpPr>
            <p:spPr>
              <a:xfrm>
                <a:off x="306101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Gerade Verbindung 72"/>
              <p:cNvCxnSpPr/>
              <p:nvPr userDrawn="1"/>
            </p:nvCxnSpPr>
            <p:spPr>
              <a:xfrm>
                <a:off x="568966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Gerade Verbindung 73"/>
              <p:cNvCxnSpPr/>
              <p:nvPr userDrawn="1"/>
            </p:nvCxnSpPr>
            <p:spPr>
              <a:xfrm>
                <a:off x="582968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5" name="Gerade Verbindung 70"/>
              <p:cNvCxnSpPr/>
              <p:nvPr userDrawn="1"/>
            </p:nvCxnSpPr>
            <p:spPr>
              <a:xfrm>
                <a:off x="8459788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Gerade Verbindung 71"/>
              <p:cNvCxnSpPr/>
              <p:nvPr userDrawn="1"/>
            </p:nvCxnSpPr>
            <p:spPr>
              <a:xfrm>
                <a:off x="860218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7" name="Gerade Verbindung 69"/>
              <p:cNvCxnSpPr/>
              <p:nvPr userDrawn="1"/>
            </p:nvCxnSpPr>
            <p:spPr>
              <a:xfrm>
                <a:off x="1123314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1" name="Gruppieren 150"/>
            <p:cNvGrpSpPr/>
            <p:nvPr userDrawn="1"/>
          </p:nvGrpSpPr>
          <p:grpSpPr>
            <a:xfrm>
              <a:off x="288925" y="-308570"/>
              <a:ext cx="10944224" cy="180000"/>
              <a:chOff x="288925" y="-308570"/>
              <a:chExt cx="10944224" cy="180000"/>
            </a:xfrm>
          </p:grpSpPr>
          <p:cxnSp>
            <p:nvCxnSpPr>
              <p:cNvPr id="152" name="Gerade Verbindung 14"/>
              <p:cNvCxnSpPr/>
              <p:nvPr userDrawn="1"/>
            </p:nvCxnSpPr>
            <p:spPr>
              <a:xfrm>
                <a:off x="28892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3" name="Gerade Verbindung 23"/>
              <p:cNvCxnSpPr/>
              <p:nvPr userDrawn="1"/>
            </p:nvCxnSpPr>
            <p:spPr>
              <a:xfrm>
                <a:off x="291147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Gerade Verbindung 24"/>
              <p:cNvCxnSpPr/>
              <p:nvPr userDrawn="1"/>
            </p:nvCxnSpPr>
            <p:spPr>
              <a:xfrm>
                <a:off x="306101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5" name="Gerade Verbindung 21"/>
              <p:cNvCxnSpPr/>
              <p:nvPr userDrawn="1"/>
            </p:nvCxnSpPr>
            <p:spPr>
              <a:xfrm>
                <a:off x="568966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Gerade Verbindung 22"/>
              <p:cNvCxnSpPr/>
              <p:nvPr userDrawn="1"/>
            </p:nvCxnSpPr>
            <p:spPr>
              <a:xfrm>
                <a:off x="582968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Gerade Verbindung 19"/>
              <p:cNvCxnSpPr/>
              <p:nvPr userDrawn="1"/>
            </p:nvCxnSpPr>
            <p:spPr>
              <a:xfrm>
                <a:off x="8459788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Gerade Verbindung 20"/>
              <p:cNvCxnSpPr/>
              <p:nvPr userDrawn="1"/>
            </p:nvCxnSpPr>
            <p:spPr>
              <a:xfrm>
                <a:off x="860218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Gerade Verbindung 18"/>
              <p:cNvCxnSpPr/>
              <p:nvPr userDrawn="1"/>
            </p:nvCxnSpPr>
            <p:spPr>
              <a:xfrm>
                <a:off x="1123314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DAC6ABFF-D74E-F3D6-83ED-D8DD4422CB8E}"/>
              </a:ext>
            </a:extLst>
          </p:cNvPr>
          <p:cNvSpPr/>
          <p:nvPr userDrawn="1"/>
        </p:nvSpPr>
        <p:spPr>
          <a:xfrm>
            <a:off x="0" y="0"/>
            <a:ext cx="11522075" cy="1467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389520B-6B70-4571-3ABC-0CFCA3485B8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739523"/>
            <a:ext cx="11522075" cy="1467434"/>
          </a:xfrm>
          <a:prstGeom prst="rect">
            <a:avLst/>
          </a:prstGeom>
        </p:spPr>
      </p:pic>
      <p:pic>
        <p:nvPicPr>
          <p:cNvPr id="3" name="Grafik 21">
            <a:extLst>
              <a:ext uri="{FF2B5EF4-FFF2-40B4-BE49-F238E27FC236}">
                <a16:creationId xmlns:a16="http://schemas.microsoft.com/office/drawing/2014/main" id="{D4C43E31-A1C6-FAA1-FEDD-3AF502BC930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88000" y="409180"/>
            <a:ext cx="5105651" cy="9829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71594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Blue">
    <p:bg>
      <p:bgPr>
        <a:blipFill dpi="0" rotWithShape="1">
          <a:blip r:embed="rId3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3556048"/>
              </p:ext>
            </p:extLst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feld 8"/>
          <p:cNvSpPr txBox="1"/>
          <p:nvPr userDrawn="1"/>
        </p:nvSpPr>
        <p:spPr>
          <a:xfrm>
            <a:off x="4999758" y="6073627"/>
            <a:ext cx="1615148" cy="2619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de-DE" sz="180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324304" y="1175971"/>
            <a:ext cx="8937296" cy="410722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4000"/>
              </a:lnSpc>
              <a:spcBef>
                <a:spcPts val="0"/>
              </a:spcBef>
              <a:defRPr sz="4400" b="0" i="0" baseline="0">
                <a:solidFill>
                  <a:schemeClr val="bg1"/>
                </a:solidFill>
                <a:latin typeface="Montserrat Light" pitchFamily="2" charset="77"/>
                <a:ea typeface="Montserrat Light" pitchFamily="2" charset="77"/>
              </a:defRPr>
            </a:lvl1pPr>
          </a:lstStyle>
          <a:p>
            <a:pPr lvl="0"/>
            <a:r>
              <a:rPr lang="de-DE" dirty="0" err="1"/>
              <a:t>Section</a:t>
            </a:r>
            <a:r>
              <a:rPr lang="de-DE" dirty="0"/>
              <a:t> Title</a:t>
            </a:r>
          </a:p>
        </p:txBody>
      </p:sp>
      <p:grpSp>
        <p:nvGrpSpPr>
          <p:cNvPr id="147" name="Gruppieren 146"/>
          <p:cNvGrpSpPr/>
          <p:nvPr userDrawn="1"/>
        </p:nvGrpSpPr>
        <p:grpSpPr>
          <a:xfrm>
            <a:off x="-348582" y="-308570"/>
            <a:ext cx="12206900" cy="7126900"/>
            <a:chOff x="-348582" y="-308570"/>
            <a:chExt cx="12206900" cy="7126900"/>
          </a:xfrm>
        </p:grpSpPr>
        <p:grpSp>
          <p:nvGrpSpPr>
            <p:cNvPr id="148" name="Gruppieren 147"/>
            <p:cNvGrpSpPr/>
            <p:nvPr userDrawn="1"/>
          </p:nvGrpSpPr>
          <p:grpSpPr>
            <a:xfrm>
              <a:off x="-348582" y="362069"/>
              <a:ext cx="180000" cy="5931473"/>
              <a:chOff x="-348582" y="362069"/>
              <a:chExt cx="180000" cy="5931473"/>
            </a:xfrm>
          </p:grpSpPr>
          <p:cxnSp>
            <p:nvCxnSpPr>
              <p:cNvPr id="175" name="Gerade Verbindung 6"/>
              <p:cNvCxnSpPr/>
              <p:nvPr userDrawn="1"/>
            </p:nvCxnSpPr>
            <p:spPr>
              <a:xfrm>
                <a:off x="-348582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Gerade Verbindung 7"/>
              <p:cNvCxnSpPr/>
              <p:nvPr userDrawn="1"/>
            </p:nvCxnSpPr>
            <p:spPr>
              <a:xfrm>
                <a:off x="-348582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Gerade Verbindung 8"/>
              <p:cNvCxnSpPr/>
              <p:nvPr userDrawn="1"/>
            </p:nvCxnSpPr>
            <p:spPr>
              <a:xfrm>
                <a:off x="-348582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Gerade Verbindung 9"/>
              <p:cNvCxnSpPr/>
              <p:nvPr userDrawn="1"/>
            </p:nvCxnSpPr>
            <p:spPr>
              <a:xfrm>
                <a:off x="-348582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Gerade Verbindung 10"/>
              <p:cNvCxnSpPr/>
              <p:nvPr userDrawn="1"/>
            </p:nvCxnSpPr>
            <p:spPr>
              <a:xfrm>
                <a:off x="-348582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Gerade Verbindung 11"/>
              <p:cNvCxnSpPr/>
              <p:nvPr userDrawn="1"/>
            </p:nvCxnSpPr>
            <p:spPr>
              <a:xfrm>
                <a:off x="-348582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Gerade Verbindung 12"/>
              <p:cNvCxnSpPr/>
              <p:nvPr userDrawn="1"/>
            </p:nvCxnSpPr>
            <p:spPr>
              <a:xfrm>
                <a:off x="-348582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9" name="Gruppieren 148"/>
            <p:cNvGrpSpPr/>
            <p:nvPr userDrawn="1"/>
          </p:nvGrpSpPr>
          <p:grpSpPr>
            <a:xfrm>
              <a:off x="11678318" y="362069"/>
              <a:ext cx="180000" cy="5931473"/>
              <a:chOff x="11678318" y="362069"/>
              <a:chExt cx="180000" cy="5931473"/>
            </a:xfrm>
          </p:grpSpPr>
          <p:cxnSp>
            <p:nvCxnSpPr>
              <p:cNvPr id="168" name="Gerade Verbindung 56"/>
              <p:cNvCxnSpPr/>
              <p:nvPr userDrawn="1"/>
            </p:nvCxnSpPr>
            <p:spPr>
              <a:xfrm>
                <a:off x="11678318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Gerade Verbindung 57"/>
              <p:cNvCxnSpPr/>
              <p:nvPr userDrawn="1"/>
            </p:nvCxnSpPr>
            <p:spPr>
              <a:xfrm>
                <a:off x="11678318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Gerade Verbindung 58"/>
              <p:cNvCxnSpPr/>
              <p:nvPr userDrawn="1"/>
            </p:nvCxnSpPr>
            <p:spPr>
              <a:xfrm>
                <a:off x="11678318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Gerade Verbindung 59"/>
              <p:cNvCxnSpPr/>
              <p:nvPr userDrawn="1"/>
            </p:nvCxnSpPr>
            <p:spPr>
              <a:xfrm>
                <a:off x="11678318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Gerade Verbindung 60"/>
              <p:cNvCxnSpPr/>
              <p:nvPr userDrawn="1"/>
            </p:nvCxnSpPr>
            <p:spPr>
              <a:xfrm>
                <a:off x="11678318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Gerade Verbindung 61"/>
              <p:cNvCxnSpPr/>
              <p:nvPr userDrawn="1"/>
            </p:nvCxnSpPr>
            <p:spPr>
              <a:xfrm>
                <a:off x="11678318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Gerade Verbindung 62"/>
              <p:cNvCxnSpPr/>
              <p:nvPr userDrawn="1"/>
            </p:nvCxnSpPr>
            <p:spPr>
              <a:xfrm>
                <a:off x="11678318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0" name="Gruppieren 149"/>
            <p:cNvGrpSpPr/>
            <p:nvPr userDrawn="1"/>
          </p:nvGrpSpPr>
          <p:grpSpPr>
            <a:xfrm>
              <a:off x="288925" y="6638330"/>
              <a:ext cx="10944224" cy="180000"/>
              <a:chOff x="288925" y="6638330"/>
              <a:chExt cx="10944224" cy="180000"/>
            </a:xfrm>
          </p:grpSpPr>
          <p:cxnSp>
            <p:nvCxnSpPr>
              <p:cNvPr id="160" name="Gerade Verbindung 65"/>
              <p:cNvCxnSpPr/>
              <p:nvPr userDrawn="1"/>
            </p:nvCxnSpPr>
            <p:spPr>
              <a:xfrm>
                <a:off x="28892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Gerade Verbindung 74"/>
              <p:cNvCxnSpPr/>
              <p:nvPr userDrawn="1"/>
            </p:nvCxnSpPr>
            <p:spPr>
              <a:xfrm>
                <a:off x="291147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Gerade Verbindung 75"/>
              <p:cNvCxnSpPr/>
              <p:nvPr userDrawn="1"/>
            </p:nvCxnSpPr>
            <p:spPr>
              <a:xfrm>
                <a:off x="306101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Gerade Verbindung 72"/>
              <p:cNvCxnSpPr/>
              <p:nvPr userDrawn="1"/>
            </p:nvCxnSpPr>
            <p:spPr>
              <a:xfrm>
                <a:off x="568966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Gerade Verbindung 73"/>
              <p:cNvCxnSpPr/>
              <p:nvPr userDrawn="1"/>
            </p:nvCxnSpPr>
            <p:spPr>
              <a:xfrm>
                <a:off x="582968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5" name="Gerade Verbindung 70"/>
              <p:cNvCxnSpPr/>
              <p:nvPr userDrawn="1"/>
            </p:nvCxnSpPr>
            <p:spPr>
              <a:xfrm>
                <a:off x="8459788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Gerade Verbindung 71"/>
              <p:cNvCxnSpPr/>
              <p:nvPr userDrawn="1"/>
            </p:nvCxnSpPr>
            <p:spPr>
              <a:xfrm>
                <a:off x="860218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7" name="Gerade Verbindung 69"/>
              <p:cNvCxnSpPr/>
              <p:nvPr userDrawn="1"/>
            </p:nvCxnSpPr>
            <p:spPr>
              <a:xfrm>
                <a:off x="1123314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1" name="Gruppieren 150"/>
            <p:cNvGrpSpPr/>
            <p:nvPr userDrawn="1"/>
          </p:nvGrpSpPr>
          <p:grpSpPr>
            <a:xfrm>
              <a:off x="288925" y="-308570"/>
              <a:ext cx="10944224" cy="180000"/>
              <a:chOff x="288925" y="-308570"/>
              <a:chExt cx="10944224" cy="180000"/>
            </a:xfrm>
          </p:grpSpPr>
          <p:cxnSp>
            <p:nvCxnSpPr>
              <p:cNvPr id="152" name="Gerade Verbindung 14"/>
              <p:cNvCxnSpPr/>
              <p:nvPr userDrawn="1"/>
            </p:nvCxnSpPr>
            <p:spPr>
              <a:xfrm>
                <a:off x="28892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3" name="Gerade Verbindung 23"/>
              <p:cNvCxnSpPr/>
              <p:nvPr userDrawn="1"/>
            </p:nvCxnSpPr>
            <p:spPr>
              <a:xfrm>
                <a:off x="291147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Gerade Verbindung 24"/>
              <p:cNvCxnSpPr/>
              <p:nvPr userDrawn="1"/>
            </p:nvCxnSpPr>
            <p:spPr>
              <a:xfrm>
                <a:off x="306101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5" name="Gerade Verbindung 21"/>
              <p:cNvCxnSpPr/>
              <p:nvPr userDrawn="1"/>
            </p:nvCxnSpPr>
            <p:spPr>
              <a:xfrm>
                <a:off x="568966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Gerade Verbindung 22"/>
              <p:cNvCxnSpPr/>
              <p:nvPr userDrawn="1"/>
            </p:nvCxnSpPr>
            <p:spPr>
              <a:xfrm>
                <a:off x="582968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Gerade Verbindung 19"/>
              <p:cNvCxnSpPr/>
              <p:nvPr userDrawn="1"/>
            </p:nvCxnSpPr>
            <p:spPr>
              <a:xfrm>
                <a:off x="8459788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Gerade Verbindung 20"/>
              <p:cNvCxnSpPr/>
              <p:nvPr userDrawn="1"/>
            </p:nvCxnSpPr>
            <p:spPr>
              <a:xfrm>
                <a:off x="860218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Gerade Verbindung 18"/>
              <p:cNvCxnSpPr/>
              <p:nvPr userDrawn="1"/>
            </p:nvCxnSpPr>
            <p:spPr>
              <a:xfrm>
                <a:off x="1123314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39595237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1 Colum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9747221"/>
              </p:ext>
            </p:extLst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3">
            <a:extLst>
              <a:ext uri="{FF2B5EF4-FFF2-40B4-BE49-F238E27FC236}">
                <a16:creationId xmlns:a16="http://schemas.microsoft.com/office/drawing/2014/main" id="{695EB076-E1BD-4EDF-8A49-0FFA62C17B0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776754" y="470208"/>
            <a:ext cx="3482228" cy="67040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C5F8087-362F-E242-4E14-7355C0A9199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7921869" cy="1689463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53D7A036-0797-32AA-A50D-1BD3998F94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4373" y="413152"/>
            <a:ext cx="10944225" cy="784516"/>
          </a:xfrm>
          <a:prstGeom prst="rect">
            <a:avLst/>
          </a:prstGeom>
        </p:spPr>
        <p:txBody>
          <a:bodyPr vert="horz"/>
          <a:lstStyle>
            <a:lvl1pPr>
              <a:defRPr b="0" i="0">
                <a:solidFill>
                  <a:schemeClr val="bg1"/>
                </a:solidFill>
                <a:latin typeface="Montserrat Light" pitchFamily="2" charset="77"/>
              </a:defRPr>
            </a:lvl1pPr>
          </a:lstStyle>
          <a:p>
            <a:r>
              <a:rPr lang="en-US" sz="2400" dirty="0">
                <a:solidFill>
                  <a:schemeClr val="bg1"/>
                </a:solidFill>
              </a:rPr>
              <a:t>Slide</a:t>
            </a:r>
            <a:br>
              <a:rPr lang="en-US" sz="2400" dirty="0">
                <a:solidFill>
                  <a:schemeClr val="bg1"/>
                </a:solidFill>
              </a:rPr>
            </a:br>
            <a:r>
              <a:rPr lang="en-US" sz="2400" dirty="0">
                <a:solidFill>
                  <a:schemeClr val="bg1"/>
                </a:solidFill>
              </a:rPr>
              <a:t>Title</a:t>
            </a:r>
          </a:p>
        </p:txBody>
      </p:sp>
      <p:sp>
        <p:nvSpPr>
          <p:cNvPr id="20" name="Content Placeholder 17">
            <a:extLst>
              <a:ext uri="{FF2B5EF4-FFF2-40B4-BE49-F238E27FC236}">
                <a16:creationId xmlns:a16="http://schemas.microsoft.com/office/drawing/2014/main" id="{A47CA737-AEFE-339E-5D5C-2C76D186E3E0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44373" y="1890346"/>
            <a:ext cx="10944225" cy="4124383"/>
          </a:xfrm>
        </p:spPr>
        <p:txBody>
          <a:bodyPr/>
          <a:lstStyle>
            <a:lvl1pPr>
              <a:defRPr sz="1500" b="0" i="0">
                <a:solidFill>
                  <a:schemeClr val="tx2"/>
                </a:solidFill>
                <a:latin typeface="Montserrat Light" pitchFamily="2" charset="77"/>
              </a:defRPr>
            </a:lvl1pPr>
            <a:lvl2pPr>
              <a:defRPr sz="1500" b="0" i="0">
                <a:solidFill>
                  <a:schemeClr val="tx2"/>
                </a:solidFill>
                <a:latin typeface="Montserrat Light" pitchFamily="2" charset="77"/>
              </a:defRPr>
            </a:lvl2pPr>
            <a:lvl3pPr>
              <a:defRPr sz="1500" b="0" i="0">
                <a:solidFill>
                  <a:schemeClr val="tx2"/>
                </a:solidFill>
                <a:latin typeface="Montserrat Light" pitchFamily="2" charset="77"/>
              </a:defRPr>
            </a:lvl3pPr>
            <a:lvl4pPr>
              <a:defRPr sz="1500" b="0" i="0">
                <a:solidFill>
                  <a:schemeClr val="tx2"/>
                </a:solidFill>
                <a:latin typeface="Montserrat Light" pitchFamily="2" charset="77"/>
              </a:defRPr>
            </a:lvl4pPr>
            <a:lvl5pPr>
              <a:defRPr sz="1500" b="0" i="0">
                <a:solidFill>
                  <a:schemeClr val="tx2"/>
                </a:solidFill>
                <a:latin typeface="Montserrat Light" pitchFamily="2" charset="77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82913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309954010"/>
              </p:ext>
            </p:extLst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" imgW="270" imgH="270" progId="TCLayout.ActiveDocument.1">
                  <p:embed/>
                </p:oleObj>
              </mc:Choice>
              <mc:Fallback>
                <p:oleObj name="think-cell Folie" r:id="rId7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44373" y="1509913"/>
            <a:ext cx="10789702" cy="43257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First Level</a:t>
            </a:r>
          </a:p>
          <a:p>
            <a:pPr lvl="1"/>
            <a:r>
              <a:rPr lang="de-DE" dirty="0"/>
              <a:t>Second Level</a:t>
            </a:r>
          </a:p>
          <a:p>
            <a:pPr lvl="2"/>
            <a:r>
              <a:rPr lang="de-DE" dirty="0"/>
              <a:t>Third Level</a:t>
            </a:r>
          </a:p>
          <a:p>
            <a:pPr lvl="3"/>
            <a:r>
              <a:rPr lang="de-DE" dirty="0" err="1"/>
              <a:t>Fourth</a:t>
            </a:r>
            <a:r>
              <a:rPr lang="de-DE" dirty="0"/>
              <a:t> Level</a:t>
            </a:r>
          </a:p>
          <a:p>
            <a:pPr lvl="4"/>
            <a:r>
              <a:rPr lang="de-DE" dirty="0" err="1"/>
              <a:t>Fifth</a:t>
            </a:r>
            <a:r>
              <a:rPr lang="de-DE" dirty="0"/>
              <a:t> Level</a:t>
            </a:r>
          </a:p>
          <a:p>
            <a:pPr lvl="5"/>
            <a:r>
              <a:rPr lang="de-DE" dirty="0" err="1"/>
              <a:t>Sixth</a:t>
            </a:r>
            <a:r>
              <a:rPr lang="de-DE" dirty="0"/>
              <a:t> Level</a:t>
            </a:r>
          </a:p>
          <a:p>
            <a:pPr lvl="6"/>
            <a:r>
              <a:rPr lang="de-DE" dirty="0" err="1"/>
              <a:t>Seventh</a:t>
            </a:r>
            <a:r>
              <a:rPr lang="de-DE" dirty="0"/>
              <a:t> Level</a:t>
            </a:r>
          </a:p>
          <a:p>
            <a:pPr lvl="7"/>
            <a:r>
              <a:rPr lang="de-DE" dirty="0" err="1"/>
              <a:t>Eighth</a:t>
            </a:r>
            <a:r>
              <a:rPr lang="de-DE" dirty="0"/>
              <a:t> Level</a:t>
            </a:r>
          </a:p>
          <a:p>
            <a:pPr lvl="8"/>
            <a:r>
              <a:rPr lang="de-DE" dirty="0" err="1"/>
              <a:t>Ninth</a:t>
            </a:r>
            <a:r>
              <a:rPr lang="de-DE" dirty="0"/>
              <a:t> Level</a:t>
            </a:r>
          </a:p>
        </p:txBody>
      </p:sp>
      <p:sp>
        <p:nvSpPr>
          <p:cNvPr id="77" name="Textfeld 76"/>
          <p:cNvSpPr txBox="1"/>
          <p:nvPr userDrawn="1"/>
        </p:nvSpPr>
        <p:spPr>
          <a:xfrm>
            <a:off x="10412349" y="6149685"/>
            <a:ext cx="820800" cy="17640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/>
            <a:fld id="{FAAB48A4-D341-4AE9-8566-EA7878570C6A}" type="slidenum">
              <a:rPr lang="de-DE" sz="900" b="1" i="0" smtClean="0">
                <a:solidFill>
                  <a:srgbClr val="3A9BF3"/>
                </a:solidFill>
                <a:latin typeface="Montserrat" pitchFamily="2" charset="77"/>
                <a:ea typeface="Typold Book" panose="020B0004030204060B03" pitchFamily="34" charset="0"/>
              </a:rPr>
              <a:pPr algn="r"/>
              <a:t>‹#›</a:t>
            </a:fld>
            <a:endParaRPr lang="en-US" sz="900" b="1" i="0" dirty="0">
              <a:solidFill>
                <a:srgbClr val="3A9BF3"/>
              </a:solidFill>
              <a:latin typeface="Montserrat" pitchFamily="2" charset="77"/>
              <a:ea typeface="Typold Book" panose="020B0004030204060B03" pitchFamily="34" charset="0"/>
            </a:endParaRPr>
          </a:p>
        </p:txBody>
      </p:sp>
      <p:grpSp>
        <p:nvGrpSpPr>
          <p:cNvPr id="138" name="Gruppieren 137"/>
          <p:cNvGrpSpPr/>
          <p:nvPr userDrawn="1"/>
        </p:nvGrpSpPr>
        <p:grpSpPr>
          <a:xfrm>
            <a:off x="-348582" y="-308570"/>
            <a:ext cx="12206900" cy="7126900"/>
            <a:chOff x="-348582" y="-308570"/>
            <a:chExt cx="12206900" cy="7126900"/>
          </a:xfrm>
        </p:grpSpPr>
        <p:grpSp>
          <p:nvGrpSpPr>
            <p:cNvPr id="139" name="Gruppieren 138"/>
            <p:cNvGrpSpPr/>
            <p:nvPr userDrawn="1"/>
          </p:nvGrpSpPr>
          <p:grpSpPr>
            <a:xfrm>
              <a:off x="-348582" y="362069"/>
              <a:ext cx="180000" cy="5931473"/>
              <a:chOff x="-348582" y="362069"/>
              <a:chExt cx="180000" cy="5931473"/>
            </a:xfrm>
          </p:grpSpPr>
          <p:cxnSp>
            <p:nvCxnSpPr>
              <p:cNvPr id="166" name="Gerade Verbindung 6"/>
              <p:cNvCxnSpPr/>
              <p:nvPr userDrawn="1"/>
            </p:nvCxnSpPr>
            <p:spPr>
              <a:xfrm>
                <a:off x="-348582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7" name="Gerade Verbindung 7"/>
              <p:cNvCxnSpPr/>
              <p:nvPr userDrawn="1"/>
            </p:nvCxnSpPr>
            <p:spPr>
              <a:xfrm>
                <a:off x="-348582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Gerade Verbindung 8"/>
              <p:cNvCxnSpPr/>
              <p:nvPr userDrawn="1"/>
            </p:nvCxnSpPr>
            <p:spPr>
              <a:xfrm>
                <a:off x="-348582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Gerade Verbindung 9"/>
              <p:cNvCxnSpPr/>
              <p:nvPr userDrawn="1"/>
            </p:nvCxnSpPr>
            <p:spPr>
              <a:xfrm>
                <a:off x="-348582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Gerade Verbindung 10"/>
              <p:cNvCxnSpPr/>
              <p:nvPr userDrawn="1"/>
            </p:nvCxnSpPr>
            <p:spPr>
              <a:xfrm>
                <a:off x="-348582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Gerade Verbindung 11"/>
              <p:cNvCxnSpPr/>
              <p:nvPr userDrawn="1"/>
            </p:nvCxnSpPr>
            <p:spPr>
              <a:xfrm>
                <a:off x="-348582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Gerade Verbindung 12"/>
              <p:cNvCxnSpPr/>
              <p:nvPr userDrawn="1"/>
            </p:nvCxnSpPr>
            <p:spPr>
              <a:xfrm>
                <a:off x="-348582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0" name="Gruppieren 139"/>
            <p:cNvGrpSpPr/>
            <p:nvPr userDrawn="1"/>
          </p:nvGrpSpPr>
          <p:grpSpPr>
            <a:xfrm>
              <a:off x="11678318" y="362069"/>
              <a:ext cx="180000" cy="5931473"/>
              <a:chOff x="11678318" y="362069"/>
              <a:chExt cx="180000" cy="5931473"/>
            </a:xfrm>
          </p:grpSpPr>
          <p:cxnSp>
            <p:nvCxnSpPr>
              <p:cNvPr id="159" name="Gerade Verbindung 56"/>
              <p:cNvCxnSpPr/>
              <p:nvPr userDrawn="1"/>
            </p:nvCxnSpPr>
            <p:spPr>
              <a:xfrm>
                <a:off x="11678318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Gerade Verbindung 57"/>
              <p:cNvCxnSpPr/>
              <p:nvPr userDrawn="1"/>
            </p:nvCxnSpPr>
            <p:spPr>
              <a:xfrm>
                <a:off x="11678318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Gerade Verbindung 58"/>
              <p:cNvCxnSpPr/>
              <p:nvPr userDrawn="1"/>
            </p:nvCxnSpPr>
            <p:spPr>
              <a:xfrm>
                <a:off x="11678318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Gerade Verbindung 59"/>
              <p:cNvCxnSpPr/>
              <p:nvPr userDrawn="1"/>
            </p:nvCxnSpPr>
            <p:spPr>
              <a:xfrm>
                <a:off x="11678318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Gerade Verbindung 60"/>
              <p:cNvCxnSpPr/>
              <p:nvPr userDrawn="1"/>
            </p:nvCxnSpPr>
            <p:spPr>
              <a:xfrm>
                <a:off x="11678318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Gerade Verbindung 61"/>
              <p:cNvCxnSpPr/>
              <p:nvPr userDrawn="1"/>
            </p:nvCxnSpPr>
            <p:spPr>
              <a:xfrm>
                <a:off x="11678318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5" name="Gerade Verbindung 62"/>
              <p:cNvCxnSpPr/>
              <p:nvPr userDrawn="1"/>
            </p:nvCxnSpPr>
            <p:spPr>
              <a:xfrm>
                <a:off x="11678318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1" name="Gruppieren 140"/>
            <p:cNvGrpSpPr/>
            <p:nvPr userDrawn="1"/>
          </p:nvGrpSpPr>
          <p:grpSpPr>
            <a:xfrm>
              <a:off x="288925" y="6638330"/>
              <a:ext cx="10944224" cy="180000"/>
              <a:chOff x="288925" y="6638330"/>
              <a:chExt cx="10944224" cy="180000"/>
            </a:xfrm>
          </p:grpSpPr>
          <p:cxnSp>
            <p:nvCxnSpPr>
              <p:cNvPr id="151" name="Gerade Verbindung 65"/>
              <p:cNvCxnSpPr/>
              <p:nvPr userDrawn="1"/>
            </p:nvCxnSpPr>
            <p:spPr>
              <a:xfrm>
                <a:off x="28892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Gerade Verbindung 74"/>
              <p:cNvCxnSpPr/>
              <p:nvPr userDrawn="1"/>
            </p:nvCxnSpPr>
            <p:spPr>
              <a:xfrm>
                <a:off x="291147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3" name="Gerade Verbindung 75"/>
              <p:cNvCxnSpPr/>
              <p:nvPr userDrawn="1"/>
            </p:nvCxnSpPr>
            <p:spPr>
              <a:xfrm>
                <a:off x="306101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Gerade Verbindung 72"/>
              <p:cNvCxnSpPr/>
              <p:nvPr userDrawn="1"/>
            </p:nvCxnSpPr>
            <p:spPr>
              <a:xfrm>
                <a:off x="568966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5" name="Gerade Verbindung 73"/>
              <p:cNvCxnSpPr/>
              <p:nvPr userDrawn="1"/>
            </p:nvCxnSpPr>
            <p:spPr>
              <a:xfrm>
                <a:off x="582968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Gerade Verbindung 70"/>
              <p:cNvCxnSpPr/>
              <p:nvPr userDrawn="1"/>
            </p:nvCxnSpPr>
            <p:spPr>
              <a:xfrm>
                <a:off x="8459788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Gerade Verbindung 71"/>
              <p:cNvCxnSpPr/>
              <p:nvPr userDrawn="1"/>
            </p:nvCxnSpPr>
            <p:spPr>
              <a:xfrm>
                <a:off x="860218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Gerade Verbindung 69"/>
              <p:cNvCxnSpPr/>
              <p:nvPr userDrawn="1"/>
            </p:nvCxnSpPr>
            <p:spPr>
              <a:xfrm>
                <a:off x="1123314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2" name="Gruppieren 141"/>
            <p:cNvGrpSpPr/>
            <p:nvPr userDrawn="1"/>
          </p:nvGrpSpPr>
          <p:grpSpPr>
            <a:xfrm>
              <a:off x="288925" y="-308570"/>
              <a:ext cx="10944224" cy="180000"/>
              <a:chOff x="288925" y="-308570"/>
              <a:chExt cx="10944224" cy="180000"/>
            </a:xfrm>
          </p:grpSpPr>
          <p:cxnSp>
            <p:nvCxnSpPr>
              <p:cNvPr id="143" name="Gerade Verbindung 14"/>
              <p:cNvCxnSpPr/>
              <p:nvPr userDrawn="1"/>
            </p:nvCxnSpPr>
            <p:spPr>
              <a:xfrm>
                <a:off x="28892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Gerade Verbindung 23"/>
              <p:cNvCxnSpPr/>
              <p:nvPr userDrawn="1"/>
            </p:nvCxnSpPr>
            <p:spPr>
              <a:xfrm>
                <a:off x="291147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5" name="Gerade Verbindung 24"/>
              <p:cNvCxnSpPr/>
              <p:nvPr userDrawn="1"/>
            </p:nvCxnSpPr>
            <p:spPr>
              <a:xfrm>
                <a:off x="306101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Gerade Verbindung 21"/>
              <p:cNvCxnSpPr/>
              <p:nvPr userDrawn="1"/>
            </p:nvCxnSpPr>
            <p:spPr>
              <a:xfrm>
                <a:off x="568966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7" name="Gerade Verbindung 22"/>
              <p:cNvCxnSpPr/>
              <p:nvPr userDrawn="1"/>
            </p:nvCxnSpPr>
            <p:spPr>
              <a:xfrm>
                <a:off x="582968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Gerade Verbindung 19"/>
              <p:cNvCxnSpPr/>
              <p:nvPr userDrawn="1"/>
            </p:nvCxnSpPr>
            <p:spPr>
              <a:xfrm>
                <a:off x="8459788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9" name="Gerade Verbindung 20"/>
              <p:cNvCxnSpPr/>
              <p:nvPr userDrawn="1"/>
            </p:nvCxnSpPr>
            <p:spPr>
              <a:xfrm>
                <a:off x="860218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Gerade Verbindung 18"/>
              <p:cNvCxnSpPr/>
              <p:nvPr userDrawn="1"/>
            </p:nvCxnSpPr>
            <p:spPr>
              <a:xfrm>
                <a:off x="1123314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43" name="Titelplatzhalter 1">
            <a:extLst>
              <a:ext uri="{FF2B5EF4-FFF2-40B4-BE49-F238E27FC236}">
                <a16:creationId xmlns:a16="http://schemas.microsoft.com/office/drawing/2014/main" id="{2CE2C321-820B-44F0-91B6-851AE3C277D4}"/>
              </a:ext>
            </a:extLst>
          </p:cNvPr>
          <p:cNvSpPr txBox="1">
            <a:spLocks/>
          </p:cNvSpPr>
          <p:nvPr userDrawn="1"/>
        </p:nvSpPr>
        <p:spPr>
          <a:xfrm>
            <a:off x="444373" y="413152"/>
            <a:ext cx="10944225" cy="78451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 baseline="0">
                <a:solidFill>
                  <a:srgbClr val="004750"/>
                </a:solidFill>
                <a:latin typeface="FlexoSoft" panose="02000000000000000000" pitchFamily="2" charset="0"/>
                <a:ea typeface="Typold Book" panose="020B0004030204060B03" pitchFamily="34" charset="0"/>
                <a:cs typeface="Arial" panose="020B0604020202020204" pitchFamily="34" charset="0"/>
              </a:defRPr>
            </a:lvl1pPr>
          </a:lstStyle>
          <a:p>
            <a:endParaRPr lang="de-DE"/>
          </a:p>
        </p:txBody>
      </p:sp>
    </p:spTree>
    <p:custDataLst>
      <p:tags r:id="rId5"/>
    </p:custDataLst>
    <p:extLst>
      <p:ext uri="{BB962C8B-B14F-4D97-AF65-F5344CB8AC3E}">
        <p14:creationId xmlns:p14="http://schemas.microsoft.com/office/powerpoint/2010/main" val="7928835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3" r:id="rId2"/>
    <p:sldLayoutId id="2147483658" r:id="rId3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 baseline="0">
          <a:solidFill>
            <a:srgbClr val="004750"/>
          </a:solidFill>
          <a:latin typeface="FlexoSoft" panose="02000000000000000000" pitchFamily="2" charset="0"/>
          <a:ea typeface="Typold Book" panose="020B0004030204060B03" pitchFamily="34" charset="0"/>
          <a:cs typeface="Arial" panose="020B0604020202020204" pitchFamily="34" charset="0"/>
        </a:defRPr>
      </a:lvl1pPr>
    </p:titleStyle>
    <p:bodyStyle>
      <a:lvl1pPr marL="0" indent="0" algn="l" defTabSz="457200" rtl="0" eaLnBrk="1" latinLnBrk="0" hangingPunct="1">
        <a:lnSpc>
          <a:spcPct val="104000"/>
        </a:lnSpc>
        <a:spcBef>
          <a:spcPts val="1200"/>
        </a:spcBef>
        <a:buFont typeface="Arial" panose="020B0604020202020204" pitchFamily="34" charset="0"/>
        <a:buNone/>
        <a:defRPr sz="1200" kern="1200">
          <a:solidFill>
            <a:srgbClr val="004750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  <a:lvl2pPr marL="180000" indent="-180000" algn="l" defTabSz="457200" rtl="0" eaLnBrk="1" latinLnBrk="0" hangingPunct="1">
        <a:lnSpc>
          <a:spcPct val="104000"/>
        </a:lnSpc>
        <a:spcBef>
          <a:spcPts val="300"/>
        </a:spcBef>
        <a:buClr>
          <a:schemeClr val="tx1"/>
        </a:buClr>
        <a:buSzPct val="70000"/>
        <a:buFont typeface="Wingdings 2" panose="05020102010507070707" pitchFamily="18" charset="2"/>
        <a:buChar char=""/>
        <a:defRPr sz="1200" kern="1200">
          <a:solidFill>
            <a:srgbClr val="004750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2pPr>
      <a:lvl3pPr marL="360000" indent="-180000" algn="l" defTabSz="439200" rtl="0" eaLnBrk="1" latinLnBrk="0" hangingPunct="1">
        <a:lnSpc>
          <a:spcPct val="104000"/>
        </a:lnSpc>
        <a:spcBef>
          <a:spcPts val="300"/>
        </a:spcBef>
        <a:buClr>
          <a:schemeClr val="tx1"/>
        </a:buClr>
        <a:buSzPct val="70000"/>
        <a:buFont typeface="Wingdings 2" panose="05020102010507070707" pitchFamily="18" charset="2"/>
        <a:buChar char="¡"/>
        <a:defRPr sz="1200" kern="1200">
          <a:solidFill>
            <a:srgbClr val="004750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3pPr>
      <a:lvl4pPr marL="561600" indent="-180000" algn="l" defTabSz="457200" rtl="0" eaLnBrk="1" latinLnBrk="0" hangingPunct="1">
        <a:lnSpc>
          <a:spcPct val="104000"/>
        </a:lnSpc>
        <a:spcBef>
          <a:spcPts val="300"/>
        </a:spcBef>
        <a:buClr>
          <a:schemeClr val="tx1"/>
        </a:buClr>
        <a:buSzPct val="70000"/>
        <a:buFont typeface="Wingdings 2" panose="05020102010507070707" pitchFamily="18" charset="2"/>
        <a:buChar char="¡"/>
        <a:defRPr sz="1200" kern="1200">
          <a:solidFill>
            <a:srgbClr val="004750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4pPr>
      <a:lvl5pPr marL="756000" indent="-180000" algn="l" defTabSz="457200" rtl="0" eaLnBrk="1" latinLnBrk="0" hangingPunct="1">
        <a:lnSpc>
          <a:spcPct val="104000"/>
        </a:lnSpc>
        <a:spcBef>
          <a:spcPts val="300"/>
        </a:spcBef>
        <a:buClr>
          <a:schemeClr val="tx1"/>
        </a:buClr>
        <a:buSzPct val="70000"/>
        <a:buFont typeface="Wingdings 2" panose="05020102010507070707" pitchFamily="18" charset="2"/>
        <a:buChar char="¡"/>
        <a:defRPr sz="1200" kern="1200" baseline="0">
          <a:solidFill>
            <a:srgbClr val="004750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5pPr>
      <a:lvl6pPr marL="931863" indent="-179388" algn="l" defTabSz="914400" rtl="0" eaLnBrk="1" latinLnBrk="0" hangingPunct="1">
        <a:lnSpc>
          <a:spcPct val="104000"/>
        </a:lnSpc>
        <a:spcBef>
          <a:spcPts val="300"/>
        </a:spcBef>
        <a:buClr>
          <a:schemeClr val="tx1"/>
        </a:buClr>
        <a:buSzPct val="70000"/>
        <a:buFont typeface="Wingdings 2" pitchFamily="18" charset="2"/>
        <a:buChar char=""/>
        <a:defRPr sz="1200" kern="1200">
          <a:solidFill>
            <a:srgbClr val="004750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6pPr>
      <a:lvl7pPr marL="1090613" indent="-179388" algn="l" defTabSz="914400" rtl="0" eaLnBrk="1" latinLnBrk="0" hangingPunct="1">
        <a:lnSpc>
          <a:spcPct val="104000"/>
        </a:lnSpc>
        <a:spcBef>
          <a:spcPts val="300"/>
        </a:spcBef>
        <a:buClr>
          <a:schemeClr val="tx1"/>
        </a:buClr>
        <a:buSzPct val="70000"/>
        <a:buFont typeface="Wingdings 2" pitchFamily="18" charset="2"/>
        <a:buChar char=""/>
        <a:defRPr sz="1200" kern="1200">
          <a:solidFill>
            <a:srgbClr val="004750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7pPr>
      <a:lvl8pPr marL="1281113" indent="-179388" algn="l" defTabSz="914400" rtl="0" eaLnBrk="1" latinLnBrk="0" hangingPunct="1">
        <a:lnSpc>
          <a:spcPct val="104000"/>
        </a:lnSpc>
        <a:spcBef>
          <a:spcPts val="300"/>
        </a:spcBef>
        <a:buClr>
          <a:schemeClr val="tx1"/>
        </a:buClr>
        <a:buSzPct val="70000"/>
        <a:buFont typeface="Wingdings 2" pitchFamily="18" charset="2"/>
        <a:buChar char=""/>
        <a:defRPr sz="1200" kern="1200">
          <a:solidFill>
            <a:srgbClr val="004750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8pPr>
      <a:lvl9pPr marL="1474788" indent="-179388" algn="l" defTabSz="914400" rtl="0" eaLnBrk="1" latinLnBrk="0" hangingPunct="1">
        <a:lnSpc>
          <a:spcPct val="104000"/>
        </a:lnSpc>
        <a:spcBef>
          <a:spcPts val="300"/>
        </a:spcBef>
        <a:buClr>
          <a:schemeClr val="tx1"/>
        </a:buClr>
        <a:buSzPct val="70000"/>
        <a:buFont typeface="Wingdings 2" pitchFamily="18" charset="2"/>
        <a:buChar char=""/>
        <a:defRPr sz="1200" kern="1200">
          <a:solidFill>
            <a:srgbClr val="004750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7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.xml"/><Relationship Id="rId4" Type="http://schemas.openxmlformats.org/officeDocument/2006/relationships/image" Target="../media/image7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hyperlink" Target="https://www.open-gateway.com/operators-map" TargetMode="External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0.png"/><Relationship Id="rId12" Type="http://schemas.openxmlformats.org/officeDocument/2006/relationships/image" Target="../media/image15.png"/><Relationship Id="rId17" Type="http://schemas.openxmlformats.org/officeDocument/2006/relationships/image" Target="../media/image18.png"/><Relationship Id="rId2" Type="http://schemas.openxmlformats.org/officeDocument/2006/relationships/slideLayout" Target="../slideLayouts/slideLayout3.xml"/><Relationship Id="rId16" Type="http://schemas.openxmlformats.org/officeDocument/2006/relationships/image" Target="../media/image17.png"/><Relationship Id="rId1" Type="http://schemas.openxmlformats.org/officeDocument/2006/relationships/tags" Target="../tags/tag9.xml"/><Relationship Id="rId6" Type="http://schemas.openxmlformats.org/officeDocument/2006/relationships/image" Target="../media/image9.png"/><Relationship Id="rId11" Type="http://schemas.openxmlformats.org/officeDocument/2006/relationships/image" Target="../media/image14.png"/><Relationship Id="rId5" Type="http://schemas.openxmlformats.org/officeDocument/2006/relationships/image" Target="../media/image8.emf"/><Relationship Id="rId15" Type="http://schemas.openxmlformats.org/officeDocument/2006/relationships/image" Target="../media/image16.png"/><Relationship Id="rId10" Type="http://schemas.openxmlformats.org/officeDocument/2006/relationships/image" Target="../media/image13.png"/><Relationship Id="rId4" Type="http://schemas.openxmlformats.org/officeDocument/2006/relationships/oleObject" Target="../embeddings/oleObject7.bin"/><Relationship Id="rId9" Type="http://schemas.openxmlformats.org/officeDocument/2006/relationships/image" Target="../media/image12.png"/><Relationship Id="rId14" Type="http://schemas.openxmlformats.org/officeDocument/2006/relationships/hyperlink" Target="https://wiki.camaraproject.org/display/CAM/Meta-release+Fall24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0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8.bin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hyperlink" Target="https://www.open-gateway.com/operators-map" TargetMode="External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0.png"/><Relationship Id="rId12" Type="http://schemas.openxmlformats.org/officeDocument/2006/relationships/image" Target="../media/image15.png"/><Relationship Id="rId17" Type="http://schemas.openxmlformats.org/officeDocument/2006/relationships/image" Target="../media/image18.png"/><Relationship Id="rId2" Type="http://schemas.openxmlformats.org/officeDocument/2006/relationships/slideLayout" Target="../slideLayouts/slideLayout3.xml"/><Relationship Id="rId16" Type="http://schemas.openxmlformats.org/officeDocument/2006/relationships/image" Target="../media/image17.png"/><Relationship Id="rId1" Type="http://schemas.openxmlformats.org/officeDocument/2006/relationships/tags" Target="../tags/tag11.xml"/><Relationship Id="rId6" Type="http://schemas.openxmlformats.org/officeDocument/2006/relationships/image" Target="../media/image9.png"/><Relationship Id="rId11" Type="http://schemas.openxmlformats.org/officeDocument/2006/relationships/image" Target="../media/image14.png"/><Relationship Id="rId5" Type="http://schemas.openxmlformats.org/officeDocument/2006/relationships/image" Target="../media/image8.emf"/><Relationship Id="rId15" Type="http://schemas.openxmlformats.org/officeDocument/2006/relationships/image" Target="../media/image16.png"/><Relationship Id="rId10" Type="http://schemas.openxmlformats.org/officeDocument/2006/relationships/image" Target="../media/image13.png"/><Relationship Id="rId4" Type="http://schemas.openxmlformats.org/officeDocument/2006/relationships/oleObject" Target="../embeddings/oleObject9.bin"/><Relationship Id="rId9" Type="http://schemas.openxmlformats.org/officeDocument/2006/relationships/image" Target="../media/image12.png"/><Relationship Id="rId14" Type="http://schemas.openxmlformats.org/officeDocument/2006/relationships/hyperlink" Target="https://wiki.camaraproject.org/display/CAM/Meta-release+Fall24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2.xml"/><Relationship Id="rId4" Type="http://schemas.openxmlformats.org/officeDocument/2006/relationships/image" Target="../media/image7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0C136F-0AA1-7049-8310-207793D7887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DE" dirty="0"/>
              <a:t>Meta-release Fall 24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8091025-0A94-1901-682F-56DB63014AA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324304" y="5484422"/>
            <a:ext cx="8886496" cy="303416"/>
          </a:xfrm>
        </p:spPr>
        <p:txBody>
          <a:bodyPr/>
          <a:lstStyle/>
          <a:p>
            <a:r>
              <a:rPr lang="en-DE" dirty="0"/>
              <a:t>Release Management Working Group, 2024-09-12</a:t>
            </a:r>
          </a:p>
        </p:txBody>
      </p:sp>
    </p:spTree>
    <p:extLst>
      <p:ext uri="{BB962C8B-B14F-4D97-AF65-F5344CB8AC3E}">
        <p14:creationId xmlns:p14="http://schemas.microsoft.com/office/powerpoint/2010/main" val="42154369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F9786E2C-3C7A-985E-93D1-4AEDB3D792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005738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0" progId="TCLayout.ActiveDocument.1">
                  <p:embed/>
                </p:oleObj>
              </mc:Choice>
              <mc:Fallback>
                <p:oleObj name="think-cell Folie" r:id="rId3" imgW="532" imgH="530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F9786E2C-3C7A-985E-93D1-4AEDB3D792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AA1587CF-E9D0-F431-5DFC-892BB418E4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Release Management</a:t>
            </a:r>
            <a:br>
              <a:rPr lang="de-DE" dirty="0"/>
            </a:br>
            <a:r>
              <a:rPr lang="de-DE" dirty="0"/>
              <a:t>Motivation and Benefits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C1CBEC6C-A35E-B413-C2F0-A045C556DBD2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28045" y="1890346"/>
            <a:ext cx="10944225" cy="4124383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A </a:t>
            </a:r>
            <a:r>
              <a:rPr lang="en-US" sz="1600" dirty="0">
                <a:latin typeface="Montserrat SemiBold" panose="00000700000000000000" pitchFamily="2" charset="0"/>
              </a:rPr>
              <a:t>CAMARA meta-release </a:t>
            </a:r>
            <a:r>
              <a:rPr lang="en-US" sz="1600" dirty="0"/>
              <a:t>combines a set of CAMARA API versions into a </a:t>
            </a:r>
            <a:r>
              <a:rPr lang="en-US" sz="1600" dirty="0">
                <a:latin typeface="Montserrat SemiBold" panose="00000700000000000000" pitchFamily="2" charset="0"/>
              </a:rPr>
              <a:t>consistent</a:t>
            </a:r>
            <a:r>
              <a:rPr lang="en-US" sz="1600" dirty="0"/>
              <a:t> releas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There will be </a:t>
            </a:r>
            <a:r>
              <a:rPr lang="en-US" sz="1600" dirty="0">
                <a:latin typeface="Montserrat SemiBold" panose="00000700000000000000" pitchFamily="2" charset="0"/>
              </a:rPr>
              <a:t>two meta-releases per year </a:t>
            </a:r>
            <a:r>
              <a:rPr lang="en-US" sz="1600" dirty="0"/>
              <a:t>(in spring and fall).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en-US" sz="1600" dirty="0"/>
              <a:t>Network operator can plan their implementations and deployments in production.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en-US" sz="1600" dirty="0"/>
              <a:t>API consumers can plan the integration in their platform and application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All API versions in a meta-release </a:t>
            </a:r>
            <a:r>
              <a:rPr lang="en-US" sz="1600" dirty="0">
                <a:latin typeface="Montserrat SemiBold" panose="00000700000000000000" pitchFamily="2" charset="0"/>
              </a:rPr>
              <a:t>fulfill defined quality criteria </a:t>
            </a:r>
            <a:r>
              <a:rPr lang="en-US" sz="1600" dirty="0"/>
              <a:t>and are </a:t>
            </a:r>
            <a:r>
              <a:rPr lang="en-US" sz="1600" dirty="0">
                <a:latin typeface="Montserrat SemiBold" panose="00000700000000000000" pitchFamily="2" charset="0"/>
              </a:rPr>
              <a:t>compliant to current CAMARA guidelines </a:t>
            </a:r>
            <a:r>
              <a:rPr lang="en-US" sz="1600" dirty="0"/>
              <a:t>like from CAMARA Commonalities and Identity and Consent Managemen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>
                <a:latin typeface="Montserrat SemiBold" panose="00000700000000000000" pitchFamily="2" charset="0"/>
              </a:rPr>
              <a:t>CAMARA meta-releases </a:t>
            </a:r>
            <a:r>
              <a:rPr lang="en-US" sz="1600" dirty="0"/>
              <a:t>ensure the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en-US" sz="1600" dirty="0"/>
              <a:t>Availability of consistent API definitions (by use of guidelines, templates, and linting),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en-US" sz="1600" dirty="0"/>
              <a:t>Quality of API definitions (by use of checklists, test definitions, and release management),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en-US" sz="1600" dirty="0"/>
              <a:t>Stability of API definitions (clear criteria for stable versus initial API versions) and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en-US" sz="1600" dirty="0"/>
              <a:t>Reliability of schedule and deliverables (with defined milestones and release candidates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Montserrat SemiBold" panose="00000700000000000000" pitchFamily="2" charset="0"/>
              </a:rPr>
              <a:t>CAMARA meta-releases </a:t>
            </a:r>
            <a:r>
              <a:rPr lang="en-US" sz="1600" dirty="0"/>
              <a:t>provide the foundation for API version management in productio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645750" lvl="2" indent="-285750">
              <a:buFont typeface="Arial" panose="020B0604020202020204" pitchFamily="34" charset="0"/>
              <a:buChar char="•"/>
            </a:pP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65248477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08904F-5B29-EA26-067C-CC1EA4BA5E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5EE5B795-0F17-391E-085E-657689205F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0" progId="TCLayout.ActiveDocument.1">
                  <p:embed/>
                </p:oleObj>
              </mc:Choice>
              <mc:Fallback>
                <p:oleObj name="think-cell Folie" r:id="rId3" imgW="532" imgH="530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5EE5B795-0F17-391E-085E-657689205F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76490129-926C-30DA-3C97-EB7DA220D6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>
                <a:latin typeface="Montserrat" pitchFamily="2" charset="77"/>
              </a:rPr>
              <a:t>Release Management</a:t>
            </a:r>
            <a:br>
              <a:rPr lang="de-DE" dirty="0">
                <a:latin typeface="Montserrat" pitchFamily="2" charset="77"/>
              </a:rPr>
            </a:br>
            <a:r>
              <a:rPr lang="de-DE" dirty="0">
                <a:latin typeface="Montserrat" pitchFamily="2" charset="77"/>
              </a:rPr>
              <a:t>Release Cycle</a:t>
            </a: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37862F65-0759-8A53-EBEF-237143B69A21}"/>
              </a:ext>
            </a:extLst>
          </p:cNvPr>
          <p:cNvGrpSpPr/>
          <p:nvPr/>
        </p:nvGrpSpPr>
        <p:grpSpPr>
          <a:xfrm>
            <a:off x="5561718" y="1552766"/>
            <a:ext cx="4320000" cy="4320000"/>
            <a:chOff x="3757886" y="1690552"/>
            <a:chExt cx="4320000" cy="4320000"/>
          </a:xfrm>
        </p:grpSpPr>
        <p:sp>
          <p:nvSpPr>
            <p:cNvPr id="39" name="Pfeil: gebogen 15">
              <a:extLst>
                <a:ext uri="{FF2B5EF4-FFF2-40B4-BE49-F238E27FC236}">
                  <a16:creationId xmlns:a16="http://schemas.microsoft.com/office/drawing/2014/main" id="{36BC49D7-CAB0-DF02-22D2-2F03FC16C8BC}"/>
                </a:ext>
              </a:extLst>
            </p:cNvPr>
            <p:cNvSpPr/>
            <p:nvPr/>
          </p:nvSpPr>
          <p:spPr>
            <a:xfrm rot="5400000">
              <a:off x="3757886" y="1690552"/>
              <a:ext cx="4320000" cy="4320000"/>
            </a:xfrm>
            <a:prstGeom prst="circularArrow">
              <a:avLst>
                <a:gd name="adj1" fmla="val 8362"/>
                <a:gd name="adj2" fmla="val 306595"/>
                <a:gd name="adj3" fmla="val 15850251"/>
                <a:gd name="adj4" fmla="val 12548124"/>
                <a:gd name="adj5" fmla="val 4181"/>
              </a:avLst>
            </a:prstGeom>
            <a:pattFill prst="wdUpDiag">
              <a:fgClr>
                <a:schemeClr val="accent5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/>
                </a:solidFill>
                <a:latin typeface="Montserrat" pitchFamily="2" charset="77"/>
              </a:endParaRPr>
            </a:p>
          </p:txBody>
        </p:sp>
        <p:sp>
          <p:nvSpPr>
            <p:cNvPr id="32" name="Pfeil: gebogen 15">
              <a:extLst>
                <a:ext uri="{FF2B5EF4-FFF2-40B4-BE49-F238E27FC236}">
                  <a16:creationId xmlns:a16="http://schemas.microsoft.com/office/drawing/2014/main" id="{DFB0E398-F224-713F-3CF9-952BE31C35E1}"/>
                </a:ext>
              </a:extLst>
            </p:cNvPr>
            <p:cNvSpPr/>
            <p:nvPr/>
          </p:nvSpPr>
          <p:spPr>
            <a:xfrm rot="5400000">
              <a:off x="3757886" y="1690552"/>
              <a:ext cx="4320000" cy="4320000"/>
            </a:xfrm>
            <a:prstGeom prst="circularArrow">
              <a:avLst>
                <a:gd name="adj1" fmla="val 8362"/>
                <a:gd name="adj2" fmla="val 306595"/>
                <a:gd name="adj3" fmla="val 4928115"/>
                <a:gd name="adj4" fmla="val 1990689"/>
                <a:gd name="adj5" fmla="val 4181"/>
              </a:avLst>
            </a:prstGeom>
            <a:pattFill prst="wdUpDiag">
              <a:fgClr>
                <a:schemeClr val="accent5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/>
                </a:solidFill>
                <a:latin typeface="Montserrat" pitchFamily="2" charset="77"/>
              </a:endParaRPr>
            </a:p>
          </p:txBody>
        </p:sp>
        <p:sp>
          <p:nvSpPr>
            <p:cNvPr id="38" name="Pfeil: gebogen 15">
              <a:extLst>
                <a:ext uri="{FF2B5EF4-FFF2-40B4-BE49-F238E27FC236}">
                  <a16:creationId xmlns:a16="http://schemas.microsoft.com/office/drawing/2014/main" id="{03297C14-E4DC-E7D1-9936-42FCDA41F8B1}"/>
                </a:ext>
              </a:extLst>
            </p:cNvPr>
            <p:cNvSpPr/>
            <p:nvPr/>
          </p:nvSpPr>
          <p:spPr>
            <a:xfrm rot="5400000">
              <a:off x="3757886" y="1690552"/>
              <a:ext cx="4320000" cy="4320000"/>
            </a:xfrm>
            <a:prstGeom prst="circularArrow">
              <a:avLst>
                <a:gd name="adj1" fmla="val 9080"/>
                <a:gd name="adj2" fmla="val 306595"/>
                <a:gd name="adj3" fmla="val 12150615"/>
                <a:gd name="adj4" fmla="val 5299618"/>
                <a:gd name="adj5" fmla="val 4540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/>
                </a:solidFill>
                <a:latin typeface="Montserrat" pitchFamily="2" charset="77"/>
              </a:endParaRPr>
            </a:p>
          </p:txBody>
        </p:sp>
        <p:sp>
          <p:nvSpPr>
            <p:cNvPr id="37" name="Pfeil: gebogen 15">
              <a:extLst>
                <a:ext uri="{FF2B5EF4-FFF2-40B4-BE49-F238E27FC236}">
                  <a16:creationId xmlns:a16="http://schemas.microsoft.com/office/drawing/2014/main" id="{3C0C4E45-6BC9-E55C-C06C-48F696480665}"/>
                </a:ext>
              </a:extLst>
            </p:cNvPr>
            <p:cNvSpPr/>
            <p:nvPr/>
          </p:nvSpPr>
          <p:spPr>
            <a:xfrm rot="5400000">
              <a:off x="3757886" y="1690552"/>
              <a:ext cx="4320000" cy="4320000"/>
            </a:xfrm>
            <a:prstGeom prst="circularArrow">
              <a:avLst>
                <a:gd name="adj1" fmla="val 8362"/>
                <a:gd name="adj2" fmla="val 306595"/>
                <a:gd name="adj3" fmla="val 1616828"/>
                <a:gd name="adj4" fmla="val 16237208"/>
                <a:gd name="adj5" fmla="val 4181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/>
                </a:solidFill>
                <a:latin typeface="Montserrat" pitchFamily="2" charset="77"/>
              </a:endParaRP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D0C5D4F9-2770-D4A2-429D-BC7DFA6BA45F}"/>
              </a:ext>
            </a:extLst>
          </p:cNvPr>
          <p:cNvGrpSpPr/>
          <p:nvPr/>
        </p:nvGrpSpPr>
        <p:grpSpPr>
          <a:xfrm>
            <a:off x="6101719" y="2092766"/>
            <a:ext cx="3244260" cy="3240000"/>
            <a:chOff x="3383488" y="2062110"/>
            <a:chExt cx="3244260" cy="3240000"/>
          </a:xfrm>
        </p:grpSpPr>
        <p:sp>
          <p:nvSpPr>
            <p:cNvPr id="23" name="Pfeil: gebogen 10">
              <a:extLst>
                <a:ext uri="{FF2B5EF4-FFF2-40B4-BE49-F238E27FC236}">
                  <a16:creationId xmlns:a16="http://schemas.microsoft.com/office/drawing/2014/main" id="{24E31E1B-B0A1-7414-D69C-571735EEFF38}"/>
                </a:ext>
              </a:extLst>
            </p:cNvPr>
            <p:cNvSpPr/>
            <p:nvPr/>
          </p:nvSpPr>
          <p:spPr>
            <a:xfrm rot="10800000" flipH="1" flipV="1">
              <a:off x="3383488" y="2062110"/>
              <a:ext cx="3240000" cy="3240000"/>
            </a:xfrm>
            <a:prstGeom prst="circularArrow">
              <a:avLst>
                <a:gd name="adj1" fmla="val 14614"/>
                <a:gd name="adj2" fmla="val 801155"/>
                <a:gd name="adj3" fmla="val 20083365"/>
                <a:gd name="adj4" fmla="val 11059856"/>
                <a:gd name="adj5" fmla="val 125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  <a:latin typeface="Montserrat" pitchFamily="2" charset="77"/>
              </a:endParaRPr>
            </a:p>
          </p:txBody>
        </p:sp>
        <p:sp>
          <p:nvSpPr>
            <p:cNvPr id="34" name="Pfeil: gebogen 10">
              <a:extLst>
                <a:ext uri="{FF2B5EF4-FFF2-40B4-BE49-F238E27FC236}">
                  <a16:creationId xmlns:a16="http://schemas.microsoft.com/office/drawing/2014/main" id="{9AF78E6B-F686-39F8-8D63-8734A6936467}"/>
                </a:ext>
              </a:extLst>
            </p:cNvPr>
            <p:cNvSpPr/>
            <p:nvPr/>
          </p:nvSpPr>
          <p:spPr>
            <a:xfrm rot="10800000" flipH="1" flipV="1">
              <a:off x="3387748" y="2062110"/>
              <a:ext cx="3240000" cy="3240000"/>
            </a:xfrm>
            <a:prstGeom prst="circularArrow">
              <a:avLst>
                <a:gd name="adj1" fmla="val 13700"/>
                <a:gd name="adj2" fmla="val 801155"/>
                <a:gd name="adj3" fmla="val 9287073"/>
                <a:gd name="adj4" fmla="val 21504245"/>
                <a:gd name="adj5" fmla="val 11338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  <a:latin typeface="Montserrat" pitchFamily="2" charset="77"/>
              </a:endParaRP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4D69F33A-2FDD-EB69-3D6C-5FAA30C00DE4}"/>
                </a:ext>
              </a:extLst>
            </p:cNvPr>
            <p:cNvSpPr/>
            <p:nvPr/>
          </p:nvSpPr>
          <p:spPr>
            <a:xfrm>
              <a:off x="5875678" y="3343550"/>
              <a:ext cx="677120" cy="677120"/>
            </a:xfrm>
            <a:prstGeom prst="ellipse">
              <a:avLst/>
            </a:prstGeom>
            <a:solidFill>
              <a:srgbClr val="D0D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216000" rIns="216000" rtlCol="0" anchor="ctr">
              <a:normAutofit fontScale="92500" lnSpcReduction="20000"/>
            </a:bodyPr>
            <a:lstStyle/>
            <a:p>
              <a:pPr algn="ctr"/>
              <a:r>
                <a:rPr lang="en-DE" sz="1100" dirty="0">
                  <a:solidFill>
                    <a:schemeClr val="accent2"/>
                  </a:solidFill>
                  <a:latin typeface="Montserrat" pitchFamily="2" charset="77"/>
                </a:rPr>
                <a:t>Fall</a:t>
              </a:r>
              <a:br>
                <a:rPr lang="en-DE" sz="1100" dirty="0">
                  <a:solidFill>
                    <a:schemeClr val="accent2"/>
                  </a:solidFill>
                  <a:latin typeface="Montserrat" pitchFamily="2" charset="77"/>
                </a:rPr>
              </a:br>
              <a:r>
                <a:rPr lang="en-DE" sz="1100" dirty="0">
                  <a:solidFill>
                    <a:schemeClr val="accent2"/>
                  </a:solidFill>
                  <a:latin typeface="Montserrat" pitchFamily="2" charset="77"/>
                </a:rPr>
                <a:t>meta-</a:t>
              </a:r>
              <a:br>
                <a:rPr lang="en-DE" sz="1100" dirty="0">
                  <a:solidFill>
                    <a:schemeClr val="accent2"/>
                  </a:solidFill>
                  <a:latin typeface="Montserrat" pitchFamily="2" charset="77"/>
                </a:rPr>
              </a:br>
              <a:r>
                <a:rPr lang="en-DE" sz="1100" dirty="0">
                  <a:solidFill>
                    <a:schemeClr val="accent2"/>
                  </a:solidFill>
                  <a:latin typeface="Montserrat" pitchFamily="2" charset="77"/>
                </a:rPr>
                <a:t>release</a:t>
              </a:r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3F787300-12EB-F33E-E211-464670F48C1B}"/>
                </a:ext>
              </a:extLst>
            </p:cNvPr>
            <p:cNvSpPr/>
            <p:nvPr/>
          </p:nvSpPr>
          <p:spPr>
            <a:xfrm>
              <a:off x="3410730" y="3343550"/>
              <a:ext cx="677120" cy="677120"/>
            </a:xfrm>
            <a:prstGeom prst="ellipse">
              <a:avLst/>
            </a:prstGeom>
            <a:solidFill>
              <a:srgbClr val="D0D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216000" rIns="216000" rtlCol="0" anchor="ctr">
              <a:normAutofit fontScale="92500" lnSpcReduction="20000"/>
            </a:bodyPr>
            <a:lstStyle/>
            <a:p>
              <a:pPr algn="ctr"/>
              <a:r>
                <a:rPr lang="en-DE" sz="1100" dirty="0">
                  <a:solidFill>
                    <a:schemeClr val="accent2"/>
                  </a:solidFill>
                  <a:latin typeface="Montserrat" pitchFamily="2" charset="77"/>
                </a:rPr>
                <a:t>Spring</a:t>
              </a:r>
              <a:br>
                <a:rPr lang="en-DE" sz="1100" dirty="0">
                  <a:solidFill>
                    <a:schemeClr val="accent2"/>
                  </a:solidFill>
                  <a:latin typeface="Montserrat" pitchFamily="2" charset="77"/>
                </a:rPr>
              </a:br>
              <a:r>
                <a:rPr lang="en-DE" sz="1100" dirty="0">
                  <a:solidFill>
                    <a:schemeClr val="accent2"/>
                  </a:solidFill>
                  <a:latin typeface="Montserrat" pitchFamily="2" charset="77"/>
                </a:rPr>
                <a:t>meta-</a:t>
              </a:r>
              <a:br>
                <a:rPr lang="en-DE" sz="1100" dirty="0">
                  <a:solidFill>
                    <a:schemeClr val="accent2"/>
                  </a:solidFill>
                  <a:latin typeface="Montserrat" pitchFamily="2" charset="77"/>
                </a:rPr>
              </a:br>
              <a:r>
                <a:rPr lang="en-DE" sz="1100" dirty="0">
                  <a:solidFill>
                    <a:schemeClr val="accent2"/>
                  </a:solidFill>
                  <a:latin typeface="Montserrat" pitchFamily="2" charset="77"/>
                </a:rPr>
                <a:t>release</a:t>
              </a:r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4A5D9DD3-B0F8-6F68-5D64-5D4B708FD3F9}"/>
                </a:ext>
              </a:extLst>
            </p:cNvPr>
            <p:cNvSpPr/>
            <p:nvPr/>
          </p:nvSpPr>
          <p:spPr>
            <a:xfrm>
              <a:off x="4125588" y="2535039"/>
              <a:ext cx="304800" cy="304800"/>
            </a:xfrm>
            <a:prstGeom prst="ellipse">
              <a:avLst/>
            </a:prstGeom>
            <a:solidFill>
              <a:srgbClr val="D0D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>
              <a:noAutofit/>
            </a:bodyPr>
            <a:lstStyle/>
            <a:p>
              <a:pPr algn="ctr"/>
              <a:r>
                <a:rPr lang="en-DE" sz="800" dirty="0">
                  <a:latin typeface="Montserrat" pitchFamily="2" charset="77"/>
                </a:rPr>
                <a:t>alpha</a:t>
              </a: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457FB6AF-23BA-4E2A-3205-41696333795B}"/>
                </a:ext>
              </a:extLst>
            </p:cNvPr>
            <p:cNvSpPr/>
            <p:nvPr/>
          </p:nvSpPr>
          <p:spPr>
            <a:xfrm>
              <a:off x="5456237" y="2498751"/>
              <a:ext cx="304800" cy="304800"/>
            </a:xfrm>
            <a:prstGeom prst="ellipse">
              <a:avLst/>
            </a:prstGeom>
            <a:solidFill>
              <a:srgbClr val="D0D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>
              <a:normAutofit fontScale="55000" lnSpcReduction="20000"/>
            </a:bodyPr>
            <a:lstStyle/>
            <a:p>
              <a:pPr algn="ctr"/>
              <a:r>
                <a:rPr lang="en-DE" dirty="0">
                  <a:latin typeface="Montserrat" pitchFamily="2" charset="77"/>
                </a:rPr>
                <a:t>rc</a:t>
              </a:r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1EBFE74D-5D26-51EA-D7B0-48CA02E879CC}"/>
                </a:ext>
              </a:extLst>
            </p:cNvPr>
            <p:cNvSpPr/>
            <p:nvPr/>
          </p:nvSpPr>
          <p:spPr>
            <a:xfrm>
              <a:off x="4117192" y="4576898"/>
              <a:ext cx="304800" cy="304800"/>
            </a:xfrm>
            <a:prstGeom prst="ellipse">
              <a:avLst/>
            </a:prstGeom>
            <a:solidFill>
              <a:srgbClr val="D0D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>
              <a:normAutofit fontScale="55000" lnSpcReduction="20000"/>
            </a:bodyPr>
            <a:lstStyle/>
            <a:p>
              <a:pPr algn="ctr"/>
              <a:r>
                <a:rPr lang="en-DE" dirty="0">
                  <a:latin typeface="Montserrat" pitchFamily="2" charset="77"/>
                </a:rPr>
                <a:t>rc</a:t>
              </a:r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57470043-71CC-3149-A9FB-2552870F7428}"/>
                </a:ext>
              </a:extLst>
            </p:cNvPr>
            <p:cNvSpPr/>
            <p:nvPr/>
          </p:nvSpPr>
          <p:spPr>
            <a:xfrm>
              <a:off x="5456237" y="4576898"/>
              <a:ext cx="304800" cy="304800"/>
            </a:xfrm>
            <a:prstGeom prst="ellipse">
              <a:avLst/>
            </a:prstGeom>
            <a:solidFill>
              <a:srgbClr val="D0D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>
              <a:noAutofit/>
            </a:bodyPr>
            <a:lstStyle/>
            <a:p>
              <a:pPr algn="ctr"/>
              <a:r>
                <a:rPr lang="en-DE" sz="800" dirty="0">
                  <a:latin typeface="Montserrat" pitchFamily="2" charset="77"/>
                </a:rPr>
                <a:t>alpha</a:t>
              </a:r>
            </a:p>
          </p:txBody>
        </p:sp>
      </p:grpSp>
      <p:sp>
        <p:nvSpPr>
          <p:cNvPr id="51" name="TextBox 50">
            <a:extLst>
              <a:ext uri="{FF2B5EF4-FFF2-40B4-BE49-F238E27FC236}">
                <a16:creationId xmlns:a16="http://schemas.microsoft.com/office/drawing/2014/main" id="{71A92E95-AD23-69B7-815F-300A05B8902C}"/>
              </a:ext>
            </a:extLst>
          </p:cNvPr>
          <p:cNvSpPr txBox="1"/>
          <p:nvPr/>
        </p:nvSpPr>
        <p:spPr>
          <a:xfrm>
            <a:off x="7179815" y="3388851"/>
            <a:ext cx="1061509" cy="6001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DE" sz="1100" dirty="0">
                <a:latin typeface="Montserrat" pitchFamily="2" charset="77"/>
              </a:rPr>
              <a:t>CAMARA</a:t>
            </a:r>
            <a:br>
              <a:rPr lang="en-DE" sz="1100" dirty="0">
                <a:latin typeface="Montserrat" pitchFamily="2" charset="77"/>
              </a:rPr>
            </a:br>
            <a:r>
              <a:rPr lang="en-DE" sz="1100" dirty="0">
                <a:latin typeface="Montserrat" pitchFamily="2" charset="77"/>
              </a:rPr>
              <a:t>Guidelines</a:t>
            </a:r>
          </a:p>
          <a:p>
            <a:pPr algn="ctr"/>
            <a:r>
              <a:rPr lang="en-DE" sz="1100" dirty="0">
                <a:latin typeface="Montserrat" pitchFamily="2" charset="77"/>
              </a:rPr>
              <a:t>&amp; Templates</a:t>
            </a:r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C2FF5619-3E1B-D077-610E-4755A857CA97}"/>
              </a:ext>
            </a:extLst>
          </p:cNvPr>
          <p:cNvGrpSpPr/>
          <p:nvPr/>
        </p:nvGrpSpPr>
        <p:grpSpPr>
          <a:xfrm rot="8448290">
            <a:off x="6968729" y="2978065"/>
            <a:ext cx="1523920" cy="1521919"/>
            <a:chOff x="245251" y="2230552"/>
            <a:chExt cx="3244260" cy="3240000"/>
          </a:xfrm>
          <a:pattFill prst="pct30">
            <a:fgClr>
              <a:schemeClr val="accent2"/>
            </a:fgClr>
            <a:bgClr>
              <a:schemeClr val="bg1"/>
            </a:bgClr>
          </a:pattFill>
        </p:grpSpPr>
        <p:sp>
          <p:nvSpPr>
            <p:cNvPr id="41" name="Pfeil: gebogen 10">
              <a:extLst>
                <a:ext uri="{FF2B5EF4-FFF2-40B4-BE49-F238E27FC236}">
                  <a16:creationId xmlns:a16="http://schemas.microsoft.com/office/drawing/2014/main" id="{9845A3F9-AE3B-C068-C630-9BBE7BB8FD9E}"/>
                </a:ext>
              </a:extLst>
            </p:cNvPr>
            <p:cNvSpPr/>
            <p:nvPr/>
          </p:nvSpPr>
          <p:spPr>
            <a:xfrm rot="10800000" flipH="1" flipV="1">
              <a:off x="245251" y="2230552"/>
              <a:ext cx="3240000" cy="3240000"/>
            </a:xfrm>
            <a:prstGeom prst="circularArrow">
              <a:avLst>
                <a:gd name="adj1" fmla="val 14614"/>
                <a:gd name="adj2" fmla="val 801155"/>
                <a:gd name="adj3" fmla="val 20083365"/>
                <a:gd name="adj4" fmla="val 11059856"/>
                <a:gd name="adj5" fmla="val 125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  <a:latin typeface="Montserrat" pitchFamily="2" charset="77"/>
              </a:endParaRPr>
            </a:p>
          </p:txBody>
        </p:sp>
        <p:sp>
          <p:nvSpPr>
            <p:cNvPr id="42" name="Pfeil: gebogen 10">
              <a:extLst>
                <a:ext uri="{FF2B5EF4-FFF2-40B4-BE49-F238E27FC236}">
                  <a16:creationId xmlns:a16="http://schemas.microsoft.com/office/drawing/2014/main" id="{027BE31F-7159-BD9E-77AD-7069D8559BFD}"/>
                </a:ext>
              </a:extLst>
            </p:cNvPr>
            <p:cNvSpPr/>
            <p:nvPr/>
          </p:nvSpPr>
          <p:spPr>
            <a:xfrm rot="10800000" flipH="1" flipV="1">
              <a:off x="249511" y="2230552"/>
              <a:ext cx="3240000" cy="3240000"/>
            </a:xfrm>
            <a:prstGeom prst="circularArrow">
              <a:avLst>
                <a:gd name="adj1" fmla="val 13700"/>
                <a:gd name="adj2" fmla="val 801155"/>
                <a:gd name="adj3" fmla="val 9287073"/>
                <a:gd name="adj4" fmla="val 351951"/>
                <a:gd name="adj5" fmla="val 11338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/>
                </a:solidFill>
                <a:latin typeface="Montserrat" pitchFamily="2" charset="77"/>
              </a:endParaRPr>
            </a:p>
          </p:txBody>
        </p:sp>
      </p:grpSp>
      <p:sp>
        <p:nvSpPr>
          <p:cNvPr id="52" name="Oval 51">
            <a:extLst>
              <a:ext uri="{FF2B5EF4-FFF2-40B4-BE49-F238E27FC236}">
                <a16:creationId xmlns:a16="http://schemas.microsoft.com/office/drawing/2014/main" id="{37EC76BD-2776-828B-3271-523C28F0AB4B}"/>
              </a:ext>
            </a:extLst>
          </p:cNvPr>
          <p:cNvSpPr/>
          <p:nvPr/>
        </p:nvSpPr>
        <p:spPr>
          <a:xfrm>
            <a:off x="7575088" y="3078763"/>
            <a:ext cx="164843" cy="164843"/>
          </a:xfrm>
          <a:prstGeom prst="ellipse">
            <a:avLst/>
          </a:prstGeom>
          <a:solidFill>
            <a:srgbClr val="D0D0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rmAutofit fontScale="25000" lnSpcReduction="20000"/>
          </a:bodyPr>
          <a:lstStyle/>
          <a:p>
            <a:pPr algn="ctr"/>
            <a:r>
              <a:rPr lang="en-DE" dirty="0">
                <a:latin typeface="Montserrat" pitchFamily="2" charset="77"/>
              </a:rPr>
              <a:t>RC</a:t>
            </a: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C405FDB9-4312-ED55-30B4-4566A3F933DE}"/>
              </a:ext>
            </a:extLst>
          </p:cNvPr>
          <p:cNvSpPr/>
          <p:nvPr/>
        </p:nvSpPr>
        <p:spPr>
          <a:xfrm>
            <a:off x="7739931" y="4215530"/>
            <a:ext cx="164843" cy="164843"/>
          </a:xfrm>
          <a:prstGeom prst="ellipse">
            <a:avLst/>
          </a:prstGeom>
          <a:solidFill>
            <a:srgbClr val="D0D0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rmAutofit fontScale="25000" lnSpcReduction="20000"/>
          </a:bodyPr>
          <a:lstStyle/>
          <a:p>
            <a:pPr algn="ctr"/>
            <a:r>
              <a:rPr lang="en-DE" dirty="0">
                <a:latin typeface="Montserrat" pitchFamily="2" charset="77"/>
              </a:rPr>
              <a:t>RC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330469DB-3A79-0753-96EE-139274EF3C86}"/>
              </a:ext>
            </a:extLst>
          </p:cNvPr>
          <p:cNvSpPr txBox="1"/>
          <p:nvPr/>
        </p:nvSpPr>
        <p:spPr>
          <a:xfrm>
            <a:off x="7129480" y="2286122"/>
            <a:ext cx="1144865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DE" sz="1100" dirty="0">
                <a:solidFill>
                  <a:schemeClr val="bg1"/>
                </a:solidFill>
                <a:latin typeface="Montserrat" pitchFamily="2" charset="77"/>
              </a:rPr>
              <a:t>CAMARA API </a:t>
            </a:r>
            <a:br>
              <a:rPr lang="en-DE" sz="1100" dirty="0">
                <a:solidFill>
                  <a:schemeClr val="bg1"/>
                </a:solidFill>
                <a:latin typeface="Montserrat" pitchFamily="2" charset="77"/>
              </a:rPr>
            </a:br>
            <a:r>
              <a:rPr lang="en-DE" sz="1100" dirty="0">
                <a:solidFill>
                  <a:schemeClr val="bg1"/>
                </a:solidFill>
                <a:latin typeface="Montserrat" pitchFamily="2" charset="77"/>
              </a:rPr>
              <a:t>definitions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B46FAFD5-922B-DDC9-C680-1273ED85BB12}"/>
              </a:ext>
            </a:extLst>
          </p:cNvPr>
          <p:cNvSpPr txBox="1"/>
          <p:nvPr/>
        </p:nvSpPr>
        <p:spPr>
          <a:xfrm>
            <a:off x="7144516" y="4721456"/>
            <a:ext cx="1144865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DE" sz="1100" dirty="0">
                <a:solidFill>
                  <a:schemeClr val="bg1"/>
                </a:solidFill>
                <a:latin typeface="Montserrat" pitchFamily="2" charset="77"/>
              </a:rPr>
              <a:t>CAMARA API </a:t>
            </a:r>
            <a:br>
              <a:rPr lang="en-DE" sz="1100" dirty="0">
                <a:solidFill>
                  <a:schemeClr val="bg1"/>
                </a:solidFill>
                <a:latin typeface="Montserrat" pitchFamily="2" charset="77"/>
              </a:rPr>
            </a:br>
            <a:r>
              <a:rPr lang="en-DE" sz="1100" dirty="0">
                <a:solidFill>
                  <a:schemeClr val="bg1"/>
                </a:solidFill>
                <a:latin typeface="Montserrat" pitchFamily="2" charset="77"/>
              </a:rPr>
              <a:t>definitions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61CB04CB-8F62-E8C8-8A05-6FDDF7E257BC}"/>
              </a:ext>
            </a:extLst>
          </p:cNvPr>
          <p:cNvSpPr txBox="1"/>
          <p:nvPr/>
        </p:nvSpPr>
        <p:spPr>
          <a:xfrm>
            <a:off x="9567731" y="1877020"/>
            <a:ext cx="1717138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DE" sz="1100" dirty="0">
                <a:latin typeface="Montserrat" pitchFamily="2" charset="77"/>
              </a:rPr>
              <a:t>(Operator/Vendor)</a:t>
            </a:r>
            <a:br>
              <a:rPr lang="en-DE" sz="1100" dirty="0">
                <a:latin typeface="Montserrat" pitchFamily="2" charset="77"/>
              </a:rPr>
            </a:br>
            <a:r>
              <a:rPr lang="en-DE" sz="1100" dirty="0">
                <a:latin typeface="Montserrat" pitchFamily="2" charset="77"/>
              </a:rPr>
              <a:t>Lab implementations</a:t>
            </a:r>
            <a:br>
              <a:rPr lang="en-DE" sz="1100" dirty="0">
                <a:latin typeface="Montserrat" pitchFamily="2" charset="77"/>
              </a:rPr>
            </a:br>
            <a:r>
              <a:rPr lang="en-DE" sz="1100" dirty="0">
                <a:latin typeface="Montserrat" pitchFamily="2" charset="77"/>
              </a:rPr>
              <a:t>&amp; tests of release </a:t>
            </a:r>
            <a:br>
              <a:rPr lang="en-DE" sz="1100" dirty="0">
                <a:latin typeface="Montserrat" pitchFamily="2" charset="77"/>
              </a:rPr>
            </a:br>
            <a:r>
              <a:rPr lang="en-DE" sz="1100" dirty="0">
                <a:latin typeface="Montserrat" pitchFamily="2" charset="77"/>
              </a:rPr>
              <a:t>candidates (rc)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CFDEFEAE-2D07-E525-9907-10D7D2070E66}"/>
              </a:ext>
            </a:extLst>
          </p:cNvPr>
          <p:cNvSpPr txBox="1"/>
          <p:nvPr/>
        </p:nvSpPr>
        <p:spPr>
          <a:xfrm>
            <a:off x="4307212" y="4721456"/>
            <a:ext cx="1717138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DE" sz="1100" dirty="0">
                <a:latin typeface="Montserrat" pitchFamily="2" charset="77"/>
              </a:rPr>
              <a:t>(Operator/Vendor)</a:t>
            </a:r>
          </a:p>
          <a:p>
            <a:pPr algn="ctr"/>
            <a:r>
              <a:rPr lang="en-DE" sz="1100" dirty="0">
                <a:latin typeface="Montserrat" pitchFamily="2" charset="77"/>
              </a:rPr>
              <a:t>Lab implementations</a:t>
            </a:r>
            <a:br>
              <a:rPr lang="en-DE" sz="1100" dirty="0">
                <a:latin typeface="Montserrat" pitchFamily="2" charset="77"/>
              </a:rPr>
            </a:br>
            <a:r>
              <a:rPr lang="en-DE" sz="1100" dirty="0">
                <a:latin typeface="Montserrat" pitchFamily="2" charset="77"/>
              </a:rPr>
              <a:t>&amp; tests of release </a:t>
            </a:r>
            <a:br>
              <a:rPr lang="en-DE" sz="1100" dirty="0">
                <a:latin typeface="Montserrat" pitchFamily="2" charset="77"/>
              </a:rPr>
            </a:br>
            <a:r>
              <a:rPr lang="en-DE" sz="1100" dirty="0">
                <a:latin typeface="Montserrat" pitchFamily="2" charset="77"/>
              </a:rPr>
              <a:t>candidates (rc)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EFA2E92E-5CCC-481F-CDE7-EA0595DD343F}"/>
              </a:ext>
            </a:extLst>
          </p:cNvPr>
          <p:cNvSpPr txBox="1"/>
          <p:nvPr/>
        </p:nvSpPr>
        <p:spPr>
          <a:xfrm>
            <a:off x="9124406" y="5077821"/>
            <a:ext cx="2254143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DE" sz="1100" dirty="0">
                <a:latin typeface="Montserrat" pitchFamily="2" charset="77"/>
              </a:rPr>
              <a:t>Operator production </a:t>
            </a:r>
            <a:br>
              <a:rPr lang="en-DE" sz="1100" dirty="0">
                <a:latin typeface="Montserrat" pitchFamily="2" charset="77"/>
              </a:rPr>
            </a:br>
            <a:r>
              <a:rPr lang="en-DE" sz="1100" dirty="0">
                <a:latin typeface="Montserrat" pitchFamily="2" charset="77"/>
              </a:rPr>
              <a:t>deployments, certifications </a:t>
            </a:r>
            <a:br>
              <a:rPr lang="en-DE" sz="1100" dirty="0">
                <a:latin typeface="Montserrat" pitchFamily="2" charset="77"/>
              </a:rPr>
            </a:br>
            <a:r>
              <a:rPr lang="en-DE" sz="1100" dirty="0">
                <a:latin typeface="Montserrat" pitchFamily="2" charset="77"/>
              </a:rPr>
              <a:t>&amp; channel integrations</a:t>
            </a:r>
          </a:p>
          <a:p>
            <a:pPr algn="ctr"/>
            <a:r>
              <a:rPr lang="en-GB" sz="1100" dirty="0">
                <a:latin typeface="Montserrat" pitchFamily="2" charset="77"/>
              </a:rPr>
              <a:t>of CAMARA </a:t>
            </a:r>
            <a:r>
              <a:rPr lang="en-GB" sz="1100">
                <a:latin typeface="Montserrat" pitchFamily="2" charset="77"/>
              </a:rPr>
              <a:t>Fall meta-release</a:t>
            </a:r>
            <a:endParaRPr lang="en-DE" sz="1100" dirty="0">
              <a:latin typeface="Montserrat" pitchFamily="2" charset="77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760D0372-935B-4706-05C8-2A4FEAE5750D}"/>
              </a:ext>
            </a:extLst>
          </p:cNvPr>
          <p:cNvSpPr txBox="1"/>
          <p:nvPr/>
        </p:nvSpPr>
        <p:spPr>
          <a:xfrm>
            <a:off x="3851279" y="1408489"/>
            <a:ext cx="2473755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DE" sz="1100" dirty="0">
                <a:latin typeface="Montserrat" pitchFamily="2" charset="77"/>
              </a:rPr>
              <a:t>Operator production </a:t>
            </a:r>
            <a:br>
              <a:rPr lang="en-DE" sz="1100" dirty="0">
                <a:latin typeface="Montserrat" pitchFamily="2" charset="77"/>
              </a:rPr>
            </a:br>
            <a:r>
              <a:rPr lang="en-DE" sz="1100" dirty="0">
                <a:latin typeface="Montserrat" pitchFamily="2" charset="77"/>
              </a:rPr>
              <a:t>deployments, certifications </a:t>
            </a:r>
            <a:br>
              <a:rPr lang="en-DE" sz="1100" dirty="0">
                <a:latin typeface="Montserrat" pitchFamily="2" charset="77"/>
              </a:rPr>
            </a:br>
            <a:r>
              <a:rPr lang="en-DE" sz="1100" dirty="0">
                <a:latin typeface="Montserrat" pitchFamily="2" charset="77"/>
              </a:rPr>
              <a:t>&amp; channel integrations</a:t>
            </a:r>
          </a:p>
          <a:p>
            <a:pPr algn="ctr"/>
            <a:r>
              <a:rPr lang="en-GB" sz="1100" dirty="0">
                <a:latin typeface="Montserrat" pitchFamily="2" charset="77"/>
              </a:rPr>
              <a:t>of CAMARA </a:t>
            </a:r>
            <a:r>
              <a:rPr lang="en-GB" sz="1100">
                <a:latin typeface="Montserrat" pitchFamily="2" charset="77"/>
              </a:rPr>
              <a:t>Spring meta-release</a:t>
            </a:r>
            <a:endParaRPr lang="en-DE" sz="1100" dirty="0">
              <a:latin typeface="Montserrat" pitchFamily="2" charset="77"/>
            </a:endParaRPr>
          </a:p>
        </p:txBody>
      </p:sp>
      <p:sp>
        <p:nvSpPr>
          <p:cNvPr id="65" name="Inhaltsplatzhalter 6">
            <a:extLst>
              <a:ext uri="{FF2B5EF4-FFF2-40B4-BE49-F238E27FC236}">
                <a16:creationId xmlns:a16="http://schemas.microsoft.com/office/drawing/2014/main" id="{396C2282-2D19-1783-A87D-9A51D93A22B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63810" y="1880852"/>
            <a:ext cx="3422419" cy="4124383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>
                <a:latin typeface="Montserrat" pitchFamily="2" charset="77"/>
              </a:rPr>
              <a:t>2 releases each year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US" sz="1100" dirty="0">
                <a:latin typeface="Montserrat" pitchFamily="2" charset="77"/>
              </a:rPr>
              <a:t>Fall (in September)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US" sz="1100" dirty="0">
                <a:latin typeface="Montserrat" pitchFamily="2" charset="77"/>
              </a:rPr>
              <a:t>Spring (in March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>
                <a:latin typeface="Montserrat" pitchFamily="2" charset="77"/>
              </a:rPr>
              <a:t>Continuous and overlapping cycles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US" sz="1100" dirty="0">
                <a:latin typeface="Montserrat" pitchFamily="2" charset="77"/>
              </a:rPr>
              <a:t>Update of CAMARA guidelines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US" sz="1100" dirty="0">
                <a:latin typeface="Montserrat" pitchFamily="2" charset="77"/>
              </a:rPr>
              <a:t>Development and updates of API definitions in CAMARA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US" sz="1100" dirty="0">
                <a:latin typeface="Montserrat" pitchFamily="2" charset="77"/>
              </a:rPr>
              <a:t>Lab implementations and production deployments at network operato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>
                <a:latin typeface="Montserrat" pitchFamily="2" charset="77"/>
              </a:rPr>
              <a:t>Tests of API release candidates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US" sz="1100" dirty="0">
                <a:latin typeface="Montserrat" pitchFamily="2" charset="77"/>
              </a:rPr>
              <a:t>Within operator (lab) implementations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US" sz="1100" dirty="0">
                <a:latin typeface="Montserrat" pitchFamily="2" charset="77"/>
              </a:rPr>
              <a:t>Based on CAMARA test defini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>
                <a:latin typeface="Montserrat" pitchFamily="2" charset="77"/>
              </a:rPr>
              <a:t>Feedback in all phases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US" sz="1100" dirty="0">
                <a:latin typeface="Montserrat" pitchFamily="2" charset="77"/>
              </a:rPr>
              <a:t>From(lab) implementations and  deployments to CAMARA API definitions and guidelines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US" sz="1100" dirty="0">
                <a:latin typeface="Montserrat" pitchFamily="2" charset="77"/>
              </a:rPr>
              <a:t>From API definition work to </a:t>
            </a:r>
            <a:br>
              <a:rPr lang="en-US" sz="1100" dirty="0">
                <a:latin typeface="Montserrat" pitchFamily="2" charset="77"/>
              </a:rPr>
            </a:br>
            <a:r>
              <a:rPr lang="en-US" sz="1100" dirty="0">
                <a:latin typeface="Montserrat" pitchFamily="2" charset="77"/>
              </a:rPr>
              <a:t>CAMARA guidelines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447DA647-A028-FFAE-B0AA-6E3EF6DFCF4E}"/>
              </a:ext>
            </a:extLst>
          </p:cNvPr>
          <p:cNvSpPr txBox="1"/>
          <p:nvPr/>
        </p:nvSpPr>
        <p:spPr>
          <a:xfrm>
            <a:off x="1526545" y="6060714"/>
            <a:ext cx="846898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latin typeface="Montserrat" pitchFamily="2" charset="77"/>
              </a:rPr>
              <a:t>For details see https://</a:t>
            </a:r>
            <a:r>
              <a:rPr lang="en-US" sz="1600" dirty="0" err="1">
                <a:latin typeface="Montserrat" pitchFamily="2" charset="77"/>
              </a:rPr>
              <a:t>wiki.camaraproject.org</a:t>
            </a:r>
            <a:r>
              <a:rPr lang="en-US" sz="1600" dirty="0">
                <a:latin typeface="Montserrat" pitchFamily="2" charset="77"/>
              </a:rPr>
              <a:t>/display/CAM/</a:t>
            </a:r>
            <a:r>
              <a:rPr lang="en-US" sz="1600" dirty="0" err="1">
                <a:latin typeface="Montserrat" pitchFamily="2" charset="77"/>
              </a:rPr>
              <a:t>Meta-release+Process</a:t>
            </a:r>
            <a:endParaRPr lang="en-US" sz="1600" dirty="0">
              <a:latin typeface="Montserrat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52182953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" name="think-cell data - do not delete" hidden="1">
            <a:extLst>
              <a:ext uri="{FF2B5EF4-FFF2-40B4-BE49-F238E27FC236}">
                <a16:creationId xmlns:a16="http://schemas.microsoft.com/office/drawing/2014/main" id="{B3BC72DB-D90C-8FCF-FD72-507CD05CAFA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2" imgH="533" progId="TCLayout.ActiveDocument.1">
                  <p:embed/>
                </p:oleObj>
              </mc:Choice>
              <mc:Fallback>
                <p:oleObj name="think-cell Folie" r:id="rId4" imgW="532" imgH="533" progId="TCLayout.ActiveDocument.1">
                  <p:embed/>
                  <p:pic>
                    <p:nvPicPr>
                      <p:cNvPr id="7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3BC72DB-D90C-8FCF-FD72-507CD05CAF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A844B96-4617-6CFA-EAEC-D21F719C30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Meta-release Fall 2024</a:t>
            </a:r>
          </a:p>
        </p:txBody>
      </p:sp>
      <p:sp>
        <p:nvSpPr>
          <p:cNvPr id="4" name="Google Shape;235;p20">
            <a:extLst>
              <a:ext uri="{FF2B5EF4-FFF2-40B4-BE49-F238E27FC236}">
                <a16:creationId xmlns:a16="http://schemas.microsoft.com/office/drawing/2014/main" id="{5FCE1BB0-BE98-6CB5-3074-B0BE0149F867}"/>
              </a:ext>
            </a:extLst>
          </p:cNvPr>
          <p:cNvSpPr/>
          <p:nvPr/>
        </p:nvSpPr>
        <p:spPr>
          <a:xfrm>
            <a:off x="184972" y="1775206"/>
            <a:ext cx="4629332" cy="2549149"/>
          </a:xfrm>
          <a:prstGeom prst="roundRect">
            <a:avLst>
              <a:gd name="adj" fmla="val 5074"/>
            </a:avLst>
          </a:prstGeom>
          <a:noFill/>
          <a:ln w="127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72000" tIns="0" rIns="72000" bIns="7200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Montserrat Light"/>
              <a:buNone/>
              <a:tabLst/>
              <a:defRPr/>
            </a:pPr>
            <a:r>
              <a:rPr kumimoji="0" lang="en-US" sz="16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Stable CAMARA APIs (v1.0.0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Montserrat Light"/>
              <a:buNone/>
              <a:tabLst/>
              <a:defRPr/>
            </a:pPr>
            <a:r>
              <a:rPr kumimoji="0" lang="en-US" sz="14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Previous versions launched in at least one market</a:t>
            </a:r>
            <a:r>
              <a:rPr kumimoji="0" lang="en-US" sz="1400" b="0" i="0" u="none" strike="noStrike" kern="0" cap="none" spc="0" normalizeH="0" baseline="3000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1</a:t>
            </a:r>
            <a:endParaRPr kumimoji="0" lang="en-US" sz="1400" b="0" i="0" u="none" strike="noStrike" kern="0" cap="none" spc="0" normalizeH="0" baseline="3000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 Light" panose="00000400000000000000" pitchFamily="2" charset="0"/>
              <a:cs typeface="Montserrat Light"/>
              <a:sym typeface="Montserrat Light"/>
            </a:endParaRPr>
          </a:p>
        </p:txBody>
      </p:sp>
      <p:sp>
        <p:nvSpPr>
          <p:cNvPr id="5" name="Google Shape;236;p20">
            <a:extLst>
              <a:ext uri="{FF2B5EF4-FFF2-40B4-BE49-F238E27FC236}">
                <a16:creationId xmlns:a16="http://schemas.microsoft.com/office/drawing/2014/main" id="{0D4883A3-A1A1-19F4-F6D1-A778C631BB5B}"/>
              </a:ext>
            </a:extLst>
          </p:cNvPr>
          <p:cNvSpPr/>
          <p:nvPr/>
        </p:nvSpPr>
        <p:spPr>
          <a:xfrm>
            <a:off x="184978" y="4439596"/>
            <a:ext cx="11155800" cy="793369"/>
          </a:xfrm>
          <a:prstGeom prst="roundRect">
            <a:avLst>
              <a:gd name="adj" fmla="val 16667"/>
            </a:avLst>
          </a:prstGeom>
          <a:solidFill>
            <a:schemeClr val="lt1"/>
          </a:solidFill>
          <a:ln w="127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72000" tIns="0" rIns="72000" bIns="7200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Montserrat Light"/>
              <a:buNone/>
              <a:tabLst/>
              <a:defRPr/>
            </a:pPr>
            <a:r>
              <a:rPr kumimoji="0" lang="en-US" sz="16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New initial APIs (v0.y.z)</a:t>
            </a:r>
            <a:br>
              <a:rPr kumimoji="0" lang="en-US" sz="16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</a:br>
            <a:endParaRPr kumimoji="0" lang="en-US" sz="1400" b="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 Light" panose="00000400000000000000" pitchFamily="2" charset="0"/>
              <a:cs typeface="Montserrat Light"/>
              <a:sym typeface="Montserrat Light"/>
            </a:endParaRPr>
          </a:p>
        </p:txBody>
      </p:sp>
      <p:sp>
        <p:nvSpPr>
          <p:cNvPr id="6" name="Google Shape;237;p20">
            <a:extLst>
              <a:ext uri="{FF2B5EF4-FFF2-40B4-BE49-F238E27FC236}">
                <a16:creationId xmlns:a16="http://schemas.microsoft.com/office/drawing/2014/main" id="{8B8BDE50-DBCD-C13E-5A44-850AF94136F6}"/>
              </a:ext>
            </a:extLst>
          </p:cNvPr>
          <p:cNvSpPr/>
          <p:nvPr/>
        </p:nvSpPr>
        <p:spPr>
          <a:xfrm>
            <a:off x="189253" y="5348205"/>
            <a:ext cx="11155800" cy="834431"/>
          </a:xfrm>
          <a:prstGeom prst="roundRect">
            <a:avLst>
              <a:gd name="adj" fmla="val 16667"/>
            </a:avLst>
          </a:prstGeom>
          <a:solidFill>
            <a:schemeClr val="lt1"/>
          </a:solidFill>
          <a:ln w="127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72000" tIns="0" rIns="72000" bIns="72000" anchor="t" anchorCtr="0">
            <a:noAutofit/>
          </a:bodyPr>
          <a:lstStyle/>
          <a:p>
            <a:pPr algn="ctr">
              <a:buClr>
                <a:srgbClr val="000000"/>
              </a:buClr>
              <a:buSzPts val="1600"/>
              <a:defRPr/>
            </a:pPr>
            <a:r>
              <a:rPr kumimoji="0" lang="en-US" sz="16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New initial APIs to subscribe for event notifications in CloudEvents format (v0.y.z)</a:t>
            </a:r>
            <a:endParaRPr kumimoji="0" lang="en-US" sz="1400" b="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 Light" panose="00000400000000000000" pitchFamily="2" charset="0"/>
              <a:cs typeface="Montserrat Light"/>
              <a:sym typeface="Montserrat Light"/>
            </a:endParaRPr>
          </a:p>
        </p:txBody>
      </p:sp>
      <p:sp>
        <p:nvSpPr>
          <p:cNvPr id="7" name="Google Shape;238;p20">
            <a:extLst>
              <a:ext uri="{FF2B5EF4-FFF2-40B4-BE49-F238E27FC236}">
                <a16:creationId xmlns:a16="http://schemas.microsoft.com/office/drawing/2014/main" id="{DF5788E0-9696-D042-3626-75CB7E4BCB68}"/>
              </a:ext>
            </a:extLst>
          </p:cNvPr>
          <p:cNvSpPr txBox="1"/>
          <p:nvPr/>
        </p:nvSpPr>
        <p:spPr>
          <a:xfrm>
            <a:off x="1329470" y="3911843"/>
            <a:ext cx="914400" cy="34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Montserrat Light"/>
              <a:buNone/>
              <a:tabLst/>
              <a:defRPr/>
            </a:pPr>
            <a: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  <a:t>Sim </a:t>
            </a:r>
            <a:b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</a:br>
            <a: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  <a:t>Swap</a:t>
            </a:r>
            <a:endParaRPr kumimoji="0" lang="en-US" sz="14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itchFamily="2" charset="77"/>
              <a:cs typeface="Montserrat Light"/>
              <a:sym typeface="Montserrat Light"/>
            </a:endParaRPr>
          </a:p>
        </p:txBody>
      </p:sp>
      <p:pic>
        <p:nvPicPr>
          <p:cNvPr id="19" name="Google Shape;250;p20">
            <a:extLst>
              <a:ext uri="{FF2B5EF4-FFF2-40B4-BE49-F238E27FC236}">
                <a16:creationId xmlns:a16="http://schemas.microsoft.com/office/drawing/2014/main" id="{14199464-2FF8-7146-05F2-502128D32F63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1565229" y="3455263"/>
            <a:ext cx="398439" cy="398439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Google Shape;240;p20">
            <a:extLst>
              <a:ext uri="{FF2B5EF4-FFF2-40B4-BE49-F238E27FC236}">
                <a16:creationId xmlns:a16="http://schemas.microsoft.com/office/drawing/2014/main" id="{FA084CFF-839E-FB28-5A08-AF38860E2D76}"/>
              </a:ext>
            </a:extLst>
          </p:cNvPr>
          <p:cNvSpPr txBox="1"/>
          <p:nvPr/>
        </p:nvSpPr>
        <p:spPr>
          <a:xfrm>
            <a:off x="2942069" y="2866478"/>
            <a:ext cx="1066500" cy="34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Montserrat Light"/>
              <a:buNone/>
              <a:tabLst/>
              <a:defRPr/>
            </a:pPr>
            <a: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  <a:t>Location</a:t>
            </a:r>
            <a:b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</a:br>
            <a: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  <a:t>Verification</a:t>
            </a:r>
            <a:endParaRPr kumimoji="0" lang="en-US" sz="14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itchFamily="2" charset="77"/>
              <a:cs typeface="Montserrat Light"/>
              <a:sym typeface="Montserrat Light"/>
            </a:endParaRPr>
          </a:p>
        </p:txBody>
      </p:sp>
      <p:grpSp>
        <p:nvGrpSpPr>
          <p:cNvPr id="21" name="Google Shape;252;p20">
            <a:extLst>
              <a:ext uri="{FF2B5EF4-FFF2-40B4-BE49-F238E27FC236}">
                <a16:creationId xmlns:a16="http://schemas.microsoft.com/office/drawing/2014/main" id="{33E322A5-F13E-ED96-165C-B50BABE9C653}"/>
              </a:ext>
            </a:extLst>
          </p:cNvPr>
          <p:cNvGrpSpPr/>
          <p:nvPr/>
        </p:nvGrpSpPr>
        <p:grpSpPr>
          <a:xfrm>
            <a:off x="3202242" y="2438050"/>
            <a:ext cx="450128" cy="398464"/>
            <a:chOff x="110067" y="275988"/>
            <a:chExt cx="533453" cy="745490"/>
          </a:xfrm>
        </p:grpSpPr>
        <p:sp>
          <p:nvSpPr>
            <p:cNvPr id="22" name="Google Shape;253;p20">
              <a:extLst>
                <a:ext uri="{FF2B5EF4-FFF2-40B4-BE49-F238E27FC236}">
                  <a16:creationId xmlns:a16="http://schemas.microsoft.com/office/drawing/2014/main" id="{C3464C44-3F38-AC2B-44A0-E5A7A409B24F}"/>
                </a:ext>
              </a:extLst>
            </p:cNvPr>
            <p:cNvSpPr/>
            <p:nvPr/>
          </p:nvSpPr>
          <p:spPr>
            <a:xfrm>
              <a:off x="110067" y="747073"/>
              <a:ext cx="533453" cy="274405"/>
            </a:xfrm>
            <a:prstGeom prst="ellipse">
              <a:avLst/>
            </a:prstGeom>
            <a:noFill/>
            <a:ln w="19050" cap="flat" cmpd="sng">
              <a:solidFill>
                <a:schemeClr val="dk1"/>
              </a:solidFill>
              <a:prstDash val="dot"/>
              <a:miter lim="800000"/>
              <a:headEnd type="none" w="sm" len="sm"/>
              <a:tailEnd type="none" w="sm" len="sm"/>
            </a:ln>
          </p:spPr>
          <p:txBody>
            <a:bodyPr spcFirstLastPara="1" wrap="square" lIns="72000" tIns="72000" rIns="72000" bIns="720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Montserrat Light"/>
                <a:buNone/>
                <a:tabLst/>
                <a:defRPr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endParaRPr>
            </a:p>
          </p:txBody>
        </p:sp>
        <p:sp>
          <p:nvSpPr>
            <p:cNvPr id="23" name="Google Shape;254;p20">
              <a:extLst>
                <a:ext uri="{FF2B5EF4-FFF2-40B4-BE49-F238E27FC236}">
                  <a16:creationId xmlns:a16="http://schemas.microsoft.com/office/drawing/2014/main" id="{6D203C95-4426-AF10-50D1-5CAA8E16310C}"/>
                </a:ext>
              </a:extLst>
            </p:cNvPr>
            <p:cNvSpPr/>
            <p:nvPr/>
          </p:nvSpPr>
          <p:spPr>
            <a:xfrm>
              <a:off x="290399" y="438738"/>
              <a:ext cx="184745" cy="165331"/>
            </a:xfrm>
            <a:custGeom>
              <a:avLst/>
              <a:gdLst/>
              <a:ahLst/>
              <a:cxnLst/>
              <a:rect l="l" t="t" r="r" b="b"/>
              <a:pathLst>
                <a:path w="131122" h="89623" extrusionOk="0">
                  <a:moveTo>
                    <a:pt x="6630" y="34860"/>
                  </a:moveTo>
                  <a:lnTo>
                    <a:pt x="0" y="41490"/>
                  </a:lnTo>
                  <a:lnTo>
                    <a:pt x="48129" y="89623"/>
                  </a:lnTo>
                  <a:lnTo>
                    <a:pt x="131123" y="6630"/>
                  </a:lnTo>
                  <a:lnTo>
                    <a:pt x="124493" y="0"/>
                  </a:lnTo>
                  <a:lnTo>
                    <a:pt x="48129" y="76364"/>
                  </a:lnTo>
                  <a:lnTo>
                    <a:pt x="6630" y="3486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Montserrat Light"/>
                <a:buNone/>
                <a:tabLst/>
                <a:defRPr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endParaRPr>
            </a:p>
          </p:txBody>
        </p:sp>
        <p:sp>
          <p:nvSpPr>
            <p:cNvPr id="24" name="Google Shape;255;p20">
              <a:extLst>
                <a:ext uri="{FF2B5EF4-FFF2-40B4-BE49-F238E27FC236}">
                  <a16:creationId xmlns:a16="http://schemas.microsoft.com/office/drawing/2014/main" id="{885D045F-46A0-7FF3-9EDA-099F8398E7AC}"/>
                </a:ext>
              </a:extLst>
            </p:cNvPr>
            <p:cNvSpPr/>
            <p:nvPr/>
          </p:nvSpPr>
          <p:spPr>
            <a:xfrm>
              <a:off x="186756" y="275988"/>
              <a:ext cx="398839" cy="647794"/>
            </a:xfrm>
            <a:custGeom>
              <a:avLst/>
              <a:gdLst/>
              <a:ahLst/>
              <a:cxnLst/>
              <a:rect l="l" t="t" r="r" b="b"/>
              <a:pathLst>
                <a:path w="398839" h="647794" extrusionOk="0">
                  <a:moveTo>
                    <a:pt x="199424" y="0"/>
                  </a:moveTo>
                  <a:cubicBezTo>
                    <a:pt x="133326" y="-74"/>
                    <a:pt x="71535" y="32786"/>
                    <a:pt x="34642" y="87630"/>
                  </a:cubicBezTo>
                  <a:cubicBezTo>
                    <a:pt x="-2447" y="142353"/>
                    <a:pt x="-10280" y="211806"/>
                    <a:pt x="13687" y="273415"/>
                  </a:cubicBezTo>
                  <a:lnTo>
                    <a:pt x="104174" y="473497"/>
                  </a:lnTo>
                  <a:lnTo>
                    <a:pt x="182279" y="637327"/>
                  </a:lnTo>
                  <a:cubicBezTo>
                    <a:pt x="187147" y="646796"/>
                    <a:pt x="198771" y="650525"/>
                    <a:pt x="208240" y="645657"/>
                  </a:cubicBezTo>
                  <a:cubicBezTo>
                    <a:pt x="211817" y="643818"/>
                    <a:pt x="214730" y="640905"/>
                    <a:pt x="216569" y="637327"/>
                  </a:cubicBezTo>
                  <a:lnTo>
                    <a:pt x="294674" y="473497"/>
                  </a:lnTo>
                  <a:lnTo>
                    <a:pt x="385162" y="273415"/>
                  </a:lnTo>
                  <a:cubicBezTo>
                    <a:pt x="409117" y="211820"/>
                    <a:pt x="401283" y="142387"/>
                    <a:pt x="364207" y="87678"/>
                  </a:cubicBezTo>
                  <a:cubicBezTo>
                    <a:pt x="327324" y="32816"/>
                    <a:pt x="265531" y="-63"/>
                    <a:pt x="199424" y="0"/>
                  </a:cubicBezTo>
                  <a:close/>
                  <a:moveTo>
                    <a:pt x="367578" y="266110"/>
                  </a:moveTo>
                  <a:lnTo>
                    <a:pt x="277482" y="465325"/>
                  </a:lnTo>
                  <a:lnTo>
                    <a:pt x="199548" y="628831"/>
                  </a:lnTo>
                  <a:lnTo>
                    <a:pt x="199291" y="628831"/>
                  </a:lnTo>
                  <a:lnTo>
                    <a:pt x="121519" y="465677"/>
                  </a:lnTo>
                  <a:lnTo>
                    <a:pt x="31260" y="266110"/>
                  </a:lnTo>
                  <a:cubicBezTo>
                    <a:pt x="9752" y="210405"/>
                    <a:pt x="16920" y="147694"/>
                    <a:pt x="50444" y="98279"/>
                  </a:cubicBezTo>
                  <a:cubicBezTo>
                    <a:pt x="105920" y="16000"/>
                    <a:pt x="217593" y="-5726"/>
                    <a:pt x="299872" y="49750"/>
                  </a:cubicBezTo>
                  <a:cubicBezTo>
                    <a:pt x="319061" y="62689"/>
                    <a:pt x="335570" y="79212"/>
                    <a:pt x="348490" y="98412"/>
                  </a:cubicBezTo>
                  <a:cubicBezTo>
                    <a:pt x="381948" y="147806"/>
                    <a:pt x="389079" y="210460"/>
                    <a:pt x="367578" y="266110"/>
                  </a:cubicBezTo>
                  <a:close/>
                </a:path>
              </a:pathLst>
            </a:custGeom>
            <a:solidFill>
              <a:schemeClr val="dk1"/>
            </a:solidFill>
            <a:ln w="12700" cap="flat" cmpd="sng">
              <a:solidFill>
                <a:schemeClr val="dk1"/>
              </a:solidFill>
              <a:prstDash val="solid"/>
              <a:miter lim="8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Montserrat Light"/>
                <a:buNone/>
                <a:tabLst/>
                <a:defRPr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endParaRPr>
            </a:p>
          </p:txBody>
        </p:sp>
      </p:grpSp>
      <p:grpSp>
        <p:nvGrpSpPr>
          <p:cNvPr id="95" name="Group 94">
            <a:extLst>
              <a:ext uri="{FF2B5EF4-FFF2-40B4-BE49-F238E27FC236}">
                <a16:creationId xmlns:a16="http://schemas.microsoft.com/office/drawing/2014/main" id="{511DC1A7-52FC-58CB-2438-262CF1187860}"/>
              </a:ext>
            </a:extLst>
          </p:cNvPr>
          <p:cNvGrpSpPr/>
          <p:nvPr/>
        </p:nvGrpSpPr>
        <p:grpSpPr>
          <a:xfrm>
            <a:off x="5376608" y="2388177"/>
            <a:ext cx="1002228" cy="860848"/>
            <a:chOff x="10170224" y="2262350"/>
            <a:chExt cx="1002228" cy="860848"/>
          </a:xfrm>
        </p:grpSpPr>
        <p:sp>
          <p:nvSpPr>
            <p:cNvPr id="17" name="Google Shape;248;p20">
              <a:extLst>
                <a:ext uri="{FF2B5EF4-FFF2-40B4-BE49-F238E27FC236}">
                  <a16:creationId xmlns:a16="http://schemas.microsoft.com/office/drawing/2014/main" id="{E5D6CACB-AAB3-DF09-B6C8-61EA91A17B4C}"/>
                </a:ext>
              </a:extLst>
            </p:cNvPr>
            <p:cNvSpPr txBox="1"/>
            <p:nvPr/>
          </p:nvSpPr>
          <p:spPr>
            <a:xfrm>
              <a:off x="10170224" y="2774298"/>
              <a:ext cx="1002228" cy="348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Montserrat Light"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Carrier </a:t>
              </a:r>
              <a:b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</a:b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Billing</a:t>
              </a:r>
              <a:endPara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Montserrat Light"/>
                <a:sym typeface="Montserrat Light"/>
              </a:endParaRPr>
            </a:p>
          </p:txBody>
        </p:sp>
        <p:pic>
          <p:nvPicPr>
            <p:cNvPr id="30" name="Google Shape;261;p20" descr="Credit card outline">
              <a:extLst>
                <a:ext uri="{FF2B5EF4-FFF2-40B4-BE49-F238E27FC236}">
                  <a16:creationId xmlns:a16="http://schemas.microsoft.com/office/drawing/2014/main" id="{ECE2B2EB-4146-84DC-9E5E-0CE386CC75B4}"/>
                </a:ext>
              </a:extLst>
            </p:cNvPr>
            <p:cNvPicPr preferRelativeResize="0"/>
            <p:nvPr/>
          </p:nvPicPr>
          <p:blipFill rotWithShape="1">
            <a:blip r:embed="rId7">
              <a:alphaModFix/>
            </a:blip>
            <a:srcRect/>
            <a:stretch/>
          </p:blipFill>
          <p:spPr>
            <a:xfrm>
              <a:off x="10406451" y="2262350"/>
              <a:ext cx="548362" cy="548362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6" name="Google Shape;247;p20">
            <a:extLst>
              <a:ext uri="{FF2B5EF4-FFF2-40B4-BE49-F238E27FC236}">
                <a16:creationId xmlns:a16="http://schemas.microsoft.com/office/drawing/2014/main" id="{8CA72000-0E24-046C-7751-E3141B6F3DD0}"/>
              </a:ext>
            </a:extLst>
          </p:cNvPr>
          <p:cNvSpPr txBox="1"/>
          <p:nvPr/>
        </p:nvSpPr>
        <p:spPr>
          <a:xfrm>
            <a:off x="2195382" y="3919259"/>
            <a:ext cx="1173600" cy="34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Montserrat Light"/>
              <a:buNone/>
              <a:tabLst/>
              <a:defRPr/>
            </a:pPr>
            <a: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  <a:t>Simple Edge Discovery</a:t>
            </a:r>
            <a:endParaRPr kumimoji="0" lang="en-US" sz="14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itchFamily="2" charset="77"/>
              <a:cs typeface="Montserrat Light"/>
              <a:sym typeface="Montserrat Light"/>
            </a:endParaRPr>
          </a:p>
        </p:txBody>
      </p:sp>
      <p:grpSp>
        <p:nvGrpSpPr>
          <p:cNvPr id="31" name="Google Shape;262;p20">
            <a:extLst>
              <a:ext uri="{FF2B5EF4-FFF2-40B4-BE49-F238E27FC236}">
                <a16:creationId xmlns:a16="http://schemas.microsoft.com/office/drawing/2014/main" id="{414E94EC-AD33-63AB-FA32-A5B4E5185B52}"/>
              </a:ext>
            </a:extLst>
          </p:cNvPr>
          <p:cNvGrpSpPr/>
          <p:nvPr/>
        </p:nvGrpSpPr>
        <p:grpSpPr>
          <a:xfrm>
            <a:off x="2421937" y="3360507"/>
            <a:ext cx="675369" cy="640653"/>
            <a:chOff x="11045276" y="198192"/>
            <a:chExt cx="492431" cy="492431"/>
          </a:xfrm>
        </p:grpSpPr>
        <p:pic>
          <p:nvPicPr>
            <p:cNvPr id="32" name="Google Shape;263;p20" descr="Cloud outline">
              <a:extLst>
                <a:ext uri="{FF2B5EF4-FFF2-40B4-BE49-F238E27FC236}">
                  <a16:creationId xmlns:a16="http://schemas.microsoft.com/office/drawing/2014/main" id="{52EBB760-7D9F-ED44-6D24-5720BAE984A7}"/>
                </a:ext>
              </a:extLst>
            </p:cNvPr>
            <p:cNvPicPr preferRelativeResize="0"/>
            <p:nvPr/>
          </p:nvPicPr>
          <p:blipFill rotWithShape="1">
            <a:blip r:embed="rId8">
              <a:alphaModFix/>
            </a:blip>
            <a:srcRect/>
            <a:stretch/>
          </p:blipFill>
          <p:spPr>
            <a:xfrm>
              <a:off x="11045276" y="198192"/>
              <a:ext cx="492431" cy="492431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33" name="Google Shape;264;p20" descr="Magnifying glass outline">
              <a:extLst>
                <a:ext uri="{FF2B5EF4-FFF2-40B4-BE49-F238E27FC236}">
                  <a16:creationId xmlns:a16="http://schemas.microsoft.com/office/drawing/2014/main" id="{4C6456E5-E026-5183-FF4B-F597ACCE0A9F}"/>
                </a:ext>
              </a:extLst>
            </p:cNvPr>
            <p:cNvPicPr preferRelativeResize="0"/>
            <p:nvPr/>
          </p:nvPicPr>
          <p:blipFill rotWithShape="1">
            <a:blip r:embed="rId9">
              <a:alphaModFix/>
            </a:blip>
            <a:srcRect/>
            <a:stretch/>
          </p:blipFill>
          <p:spPr>
            <a:xfrm>
              <a:off x="11204598" y="386677"/>
              <a:ext cx="173786" cy="173786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E3B59A5F-0CC2-55B2-6A53-71BAB2801AF8}"/>
              </a:ext>
            </a:extLst>
          </p:cNvPr>
          <p:cNvGrpSpPr/>
          <p:nvPr/>
        </p:nvGrpSpPr>
        <p:grpSpPr>
          <a:xfrm>
            <a:off x="6544288" y="2413823"/>
            <a:ext cx="1297746" cy="835202"/>
            <a:chOff x="4133803" y="2259636"/>
            <a:chExt cx="1297746" cy="835202"/>
          </a:xfrm>
        </p:grpSpPr>
        <p:sp>
          <p:nvSpPr>
            <p:cNvPr id="15" name="Google Shape;246;p20">
              <a:extLst>
                <a:ext uri="{FF2B5EF4-FFF2-40B4-BE49-F238E27FC236}">
                  <a16:creationId xmlns:a16="http://schemas.microsoft.com/office/drawing/2014/main" id="{08364033-B8F9-E3B9-ACE9-46566A9F5BC5}"/>
                </a:ext>
              </a:extLst>
            </p:cNvPr>
            <p:cNvSpPr txBox="1"/>
            <p:nvPr/>
          </p:nvSpPr>
          <p:spPr>
            <a:xfrm>
              <a:off x="4133803" y="2745938"/>
              <a:ext cx="1297746" cy="348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Montserrat Light"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Device </a:t>
              </a:r>
              <a:b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</a:b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Roaming Status</a:t>
              </a:r>
              <a:br>
                <a:rPr kumimoji="0" lang="en-US" sz="1100" b="0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 Light" panose="00000400000000000000" pitchFamily="2" charset="0"/>
                  <a:ea typeface="Montserrat Light"/>
                  <a:cs typeface="Montserrat Light"/>
                  <a:sym typeface="Montserrat Light"/>
                </a:rPr>
              </a:br>
              <a:endParaRPr kumimoji="0" lang="en-US" sz="14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cs typeface="Montserrat Light"/>
                <a:sym typeface="Montserrat Light"/>
              </a:endParaRPr>
            </a:p>
          </p:txBody>
        </p:sp>
        <p:grpSp>
          <p:nvGrpSpPr>
            <p:cNvPr id="34" name="Google Shape;265;p20">
              <a:extLst>
                <a:ext uri="{FF2B5EF4-FFF2-40B4-BE49-F238E27FC236}">
                  <a16:creationId xmlns:a16="http://schemas.microsoft.com/office/drawing/2014/main" id="{F1E1D9F4-1F37-3F57-EEF0-935AD309CDBC}"/>
                </a:ext>
              </a:extLst>
            </p:cNvPr>
            <p:cNvGrpSpPr/>
            <p:nvPr/>
          </p:nvGrpSpPr>
          <p:grpSpPr>
            <a:xfrm>
              <a:off x="4505947" y="2259636"/>
              <a:ext cx="483063" cy="483063"/>
              <a:chOff x="8745646" y="112631"/>
              <a:chExt cx="483063" cy="483063"/>
            </a:xfrm>
          </p:grpSpPr>
          <p:pic>
            <p:nvPicPr>
              <p:cNvPr id="35" name="Google Shape;266;p20" descr="Smart Phone outline">
                <a:extLst>
                  <a:ext uri="{FF2B5EF4-FFF2-40B4-BE49-F238E27FC236}">
                    <a16:creationId xmlns:a16="http://schemas.microsoft.com/office/drawing/2014/main" id="{CB4C2003-2C9A-A902-B7E3-9455EC04F1B9}"/>
                  </a:ext>
                </a:extLst>
              </p:cNvPr>
              <p:cNvPicPr preferRelativeResize="0"/>
              <p:nvPr/>
            </p:nvPicPr>
            <p:blipFill rotWithShape="1">
              <a:blip r:embed="rId10">
                <a:alphaModFix/>
              </a:blip>
              <a:srcRect/>
              <a:stretch/>
            </p:blipFill>
            <p:spPr>
              <a:xfrm>
                <a:off x="8745646" y="112631"/>
                <a:ext cx="483063" cy="483063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36" name="Google Shape;267;p20" descr="World outline">
                <a:extLst>
                  <a:ext uri="{FF2B5EF4-FFF2-40B4-BE49-F238E27FC236}">
                    <a16:creationId xmlns:a16="http://schemas.microsoft.com/office/drawing/2014/main" id="{CA4C4EB6-A058-0189-202C-0ABF0340E267}"/>
                  </a:ext>
                </a:extLst>
              </p:cNvPr>
              <p:cNvPicPr preferRelativeResize="0"/>
              <p:nvPr/>
            </p:nvPicPr>
            <p:blipFill rotWithShape="1">
              <a:blip r:embed="rId11">
                <a:alphaModFix/>
              </a:blip>
              <a:srcRect/>
              <a:stretch/>
            </p:blipFill>
            <p:spPr>
              <a:xfrm rot="1645624" flipH="1">
                <a:off x="8883107" y="261061"/>
                <a:ext cx="189144" cy="189144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37A01E8C-C70B-5482-788A-B7780208F52E}"/>
              </a:ext>
            </a:extLst>
          </p:cNvPr>
          <p:cNvGrpSpPr/>
          <p:nvPr/>
        </p:nvGrpSpPr>
        <p:grpSpPr>
          <a:xfrm>
            <a:off x="9760485" y="2355486"/>
            <a:ext cx="744668" cy="893539"/>
            <a:chOff x="8343946" y="2365388"/>
            <a:chExt cx="744668" cy="893539"/>
          </a:xfrm>
        </p:grpSpPr>
        <p:sp>
          <p:nvSpPr>
            <p:cNvPr id="29" name="Google Shape;260;p20">
              <a:extLst>
                <a:ext uri="{FF2B5EF4-FFF2-40B4-BE49-F238E27FC236}">
                  <a16:creationId xmlns:a16="http://schemas.microsoft.com/office/drawing/2014/main" id="{81BD7064-6EE0-9AB5-44E0-7E4884429970}"/>
                </a:ext>
              </a:extLst>
            </p:cNvPr>
            <p:cNvSpPr/>
            <p:nvPr/>
          </p:nvSpPr>
          <p:spPr>
            <a:xfrm>
              <a:off x="8684896" y="2628952"/>
              <a:ext cx="66889" cy="45719"/>
            </a:xfrm>
            <a:custGeom>
              <a:avLst/>
              <a:gdLst/>
              <a:ahLst/>
              <a:cxnLst/>
              <a:rect l="l" t="t" r="r" b="b"/>
              <a:pathLst>
                <a:path w="131122" h="89623" extrusionOk="0">
                  <a:moveTo>
                    <a:pt x="6630" y="34860"/>
                  </a:moveTo>
                  <a:lnTo>
                    <a:pt x="0" y="41490"/>
                  </a:lnTo>
                  <a:lnTo>
                    <a:pt x="48129" y="89623"/>
                  </a:lnTo>
                  <a:lnTo>
                    <a:pt x="131123" y="6630"/>
                  </a:lnTo>
                  <a:lnTo>
                    <a:pt x="124493" y="0"/>
                  </a:lnTo>
                  <a:lnTo>
                    <a:pt x="48129" y="76364"/>
                  </a:lnTo>
                  <a:lnTo>
                    <a:pt x="6630" y="3486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Montserrat Light"/>
                <a:buNone/>
                <a:tabLst/>
                <a:defRPr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endParaRPr>
            </a:p>
          </p:txBody>
        </p:sp>
        <p:grpSp>
          <p:nvGrpSpPr>
            <p:cNvPr id="117" name="Group 116">
              <a:extLst>
                <a:ext uri="{FF2B5EF4-FFF2-40B4-BE49-F238E27FC236}">
                  <a16:creationId xmlns:a16="http://schemas.microsoft.com/office/drawing/2014/main" id="{48CC0E7D-81E6-A947-BA07-55239E9EC354}"/>
                </a:ext>
              </a:extLst>
            </p:cNvPr>
            <p:cNvGrpSpPr/>
            <p:nvPr/>
          </p:nvGrpSpPr>
          <p:grpSpPr>
            <a:xfrm>
              <a:off x="8343946" y="2365388"/>
              <a:ext cx="744668" cy="893539"/>
              <a:chOff x="6426509" y="470715"/>
              <a:chExt cx="744668" cy="893539"/>
            </a:xfrm>
          </p:grpSpPr>
          <p:sp>
            <p:nvSpPr>
              <p:cNvPr id="10" name="Google Shape;241;p20">
                <a:extLst>
                  <a:ext uri="{FF2B5EF4-FFF2-40B4-BE49-F238E27FC236}">
                    <a16:creationId xmlns:a16="http://schemas.microsoft.com/office/drawing/2014/main" id="{B2277726-1C6D-5B96-5497-A885C0DD0915}"/>
                  </a:ext>
                </a:extLst>
              </p:cNvPr>
              <p:cNvSpPr txBox="1"/>
              <p:nvPr/>
            </p:nvSpPr>
            <p:spPr>
              <a:xfrm>
                <a:off x="6426509" y="998910"/>
                <a:ext cx="744668" cy="36534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Montserrat Light"/>
                  <a:buNone/>
                  <a:tabLst/>
                  <a:defRPr/>
                </a:pPr>
                <a:r>
                  <a:rPr kumimoji="0" lang="en-US" sz="1100" b="1" i="0" u="none" strike="noStrike" kern="0" cap="none" spc="0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Montserrat" pitchFamily="2" charset="77"/>
                    <a:ea typeface="Montserrat Light"/>
                    <a:cs typeface="Montserrat Light"/>
                    <a:sym typeface="Montserrat Light"/>
                  </a:rPr>
                  <a:t>KYC</a:t>
                </a:r>
                <a:r>
                  <a:rPr kumimoji="0" lang="en-US" sz="1100" b="1" i="0" u="none" strike="noStrike" kern="0" cap="none" spc="0" normalizeH="0" baseline="3000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Montserrat" pitchFamily="2" charset="77"/>
                    <a:ea typeface="Montserrat Light"/>
                    <a:cs typeface="Montserrat Light"/>
                    <a:sym typeface="Montserrat Light"/>
                  </a:rPr>
                  <a:t>3</a:t>
                </a:r>
                <a:br>
                  <a:rPr kumimoji="0" lang="en-US" sz="1100" b="1" i="0" u="none" strike="noStrike" kern="0" cap="none" spc="0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Montserrat" pitchFamily="2" charset="77"/>
                    <a:ea typeface="Montserrat Light"/>
                    <a:cs typeface="Montserrat Light"/>
                    <a:sym typeface="Montserrat Light"/>
                  </a:rPr>
                </a:br>
                <a:r>
                  <a:rPr kumimoji="0" lang="en-US" sz="1100" b="1" i="0" u="none" strike="noStrike" kern="0" cap="none" spc="0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Montserrat" pitchFamily="2" charset="77"/>
                    <a:ea typeface="Montserrat Light"/>
                    <a:cs typeface="Montserrat Light"/>
                    <a:sym typeface="Montserrat Light"/>
                  </a:rPr>
                  <a:t>Match</a:t>
                </a:r>
                <a:endParaRPr kumimoji="0" lang="en-US" sz="14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cs typeface="Montserrat Light"/>
                  <a:sym typeface="Montserrat Light"/>
                </a:endParaRPr>
              </a:p>
            </p:txBody>
          </p:sp>
          <p:grpSp>
            <p:nvGrpSpPr>
              <p:cNvPr id="40" name="Google Shape;271;p20">
                <a:extLst>
                  <a:ext uri="{FF2B5EF4-FFF2-40B4-BE49-F238E27FC236}">
                    <a16:creationId xmlns:a16="http://schemas.microsoft.com/office/drawing/2014/main" id="{9E8EAC3D-949A-226E-7A6C-28F5CC7D110E}"/>
                  </a:ext>
                </a:extLst>
              </p:cNvPr>
              <p:cNvGrpSpPr/>
              <p:nvPr/>
            </p:nvGrpSpPr>
            <p:grpSpPr>
              <a:xfrm>
                <a:off x="6501504" y="470715"/>
                <a:ext cx="608532" cy="488769"/>
                <a:chOff x="11244985" y="238371"/>
                <a:chExt cx="896990" cy="611042"/>
              </a:xfrm>
            </p:grpSpPr>
            <p:pic>
              <p:nvPicPr>
                <p:cNvPr id="41" name="Google Shape;272;p20" descr="User outline">
                  <a:extLst>
                    <a:ext uri="{FF2B5EF4-FFF2-40B4-BE49-F238E27FC236}">
                      <a16:creationId xmlns:a16="http://schemas.microsoft.com/office/drawing/2014/main" id="{15BFD794-B1B1-51C7-9144-76BE2B56D914}"/>
                    </a:ext>
                  </a:extLst>
                </p:cNvPr>
                <p:cNvPicPr preferRelativeResize="0"/>
                <p:nvPr/>
              </p:nvPicPr>
              <p:blipFill rotWithShape="1">
                <a:blip r:embed="rId12">
                  <a:alphaModFix/>
                </a:blip>
                <a:srcRect/>
                <a:stretch/>
              </p:blipFill>
              <p:spPr>
                <a:xfrm>
                  <a:off x="11494035" y="311642"/>
                  <a:ext cx="389382" cy="389382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  <p:pic>
              <p:nvPicPr>
                <p:cNvPr id="42" name="Google Shape;273;p20" descr="Smart Phone outline">
                  <a:extLst>
                    <a:ext uri="{FF2B5EF4-FFF2-40B4-BE49-F238E27FC236}">
                      <a16:creationId xmlns:a16="http://schemas.microsoft.com/office/drawing/2014/main" id="{A2EB0949-3930-260B-94C4-F25BFC7DE7BD}"/>
                    </a:ext>
                  </a:extLst>
                </p:cNvPr>
                <p:cNvPicPr preferRelativeResize="0"/>
                <p:nvPr/>
              </p:nvPicPr>
              <p:blipFill rotWithShape="1">
                <a:blip r:embed="rId10">
                  <a:alphaModFix/>
                </a:blip>
                <a:srcRect/>
                <a:stretch/>
              </p:blipFill>
              <p:spPr>
                <a:xfrm>
                  <a:off x="11244985" y="238371"/>
                  <a:ext cx="896990" cy="611042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</p:grpSp>
        </p:grpSp>
      </p:grpSp>
      <p:sp>
        <p:nvSpPr>
          <p:cNvPr id="43" name="Google Shape;274;p20">
            <a:extLst>
              <a:ext uri="{FF2B5EF4-FFF2-40B4-BE49-F238E27FC236}">
                <a16:creationId xmlns:a16="http://schemas.microsoft.com/office/drawing/2014/main" id="{AB5EC494-0F0F-9BCA-09B1-A54A80ABE0FE}"/>
              </a:ext>
            </a:extLst>
          </p:cNvPr>
          <p:cNvSpPr txBox="1"/>
          <p:nvPr/>
        </p:nvSpPr>
        <p:spPr>
          <a:xfrm>
            <a:off x="7790525" y="6231138"/>
            <a:ext cx="3347307" cy="253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Montserrat Light"/>
              <a:buNone/>
              <a:tabLst/>
              <a:defRPr/>
            </a:pPr>
            <a:r>
              <a:rPr lang="en-US" sz="800" kern="0" dirty="0">
                <a:solidFill>
                  <a:srgbClr val="000000"/>
                </a:solidFill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2</a:t>
            </a:r>
            <a:r>
              <a:rPr kumimoji="0" lang="en-US" sz="8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 OTP = One Time Password</a:t>
            </a:r>
            <a:r>
              <a:rPr kumimoji="0" lang="en-US" sz="8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cs typeface="Montserrat Light"/>
                <a:sym typeface="Montserrat Light"/>
              </a:rPr>
              <a:t>           </a:t>
            </a:r>
            <a:r>
              <a:rPr lang="en-US" sz="800" kern="0" dirty="0">
                <a:solidFill>
                  <a:srgbClr val="000000"/>
                </a:solidFill>
                <a:latin typeface="Montserrat Light" panose="00000400000000000000" pitchFamily="2" charset="0"/>
                <a:cs typeface="Montserrat Light"/>
                <a:sym typeface="Montserrat Light"/>
              </a:rPr>
              <a:t>3</a:t>
            </a:r>
            <a:r>
              <a:rPr kumimoji="0" lang="en-US" sz="8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 KYC = Know Your Customer</a:t>
            </a:r>
            <a:endParaRPr kumimoji="0" lang="en-US" sz="800" b="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 Light" panose="00000400000000000000" pitchFamily="2" charset="0"/>
              <a:cs typeface="Montserrat Light"/>
              <a:sym typeface="Montserrat Light"/>
            </a:endParaRPr>
          </a:p>
        </p:txBody>
      </p:sp>
      <p:sp>
        <p:nvSpPr>
          <p:cNvPr id="55" name="Google Shape;286;p20">
            <a:extLst>
              <a:ext uri="{FF2B5EF4-FFF2-40B4-BE49-F238E27FC236}">
                <a16:creationId xmlns:a16="http://schemas.microsoft.com/office/drawing/2014/main" id="{3CDD1B86-D7F7-88F1-CFF5-709DD6CA2484}"/>
              </a:ext>
            </a:extLst>
          </p:cNvPr>
          <p:cNvSpPr txBox="1"/>
          <p:nvPr/>
        </p:nvSpPr>
        <p:spPr>
          <a:xfrm>
            <a:off x="6282650" y="4803607"/>
            <a:ext cx="1108482" cy="34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Montserrat Light"/>
              <a:buNone/>
              <a:tabLst/>
              <a:defRPr/>
            </a:pPr>
            <a: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  <a:t>Connectivity</a:t>
            </a:r>
            <a:b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</a:br>
            <a: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  <a:t>Insights</a:t>
            </a:r>
          </a:p>
        </p:txBody>
      </p:sp>
      <p:sp>
        <p:nvSpPr>
          <p:cNvPr id="57" name="Google Shape;288;p20">
            <a:extLst>
              <a:ext uri="{FF2B5EF4-FFF2-40B4-BE49-F238E27FC236}">
                <a16:creationId xmlns:a16="http://schemas.microsoft.com/office/drawing/2014/main" id="{FCEE8FEE-214B-77A2-7278-BD2BE9E190B1}"/>
              </a:ext>
            </a:extLst>
          </p:cNvPr>
          <p:cNvSpPr txBox="1"/>
          <p:nvPr/>
        </p:nvSpPr>
        <p:spPr>
          <a:xfrm>
            <a:off x="2363694" y="4803607"/>
            <a:ext cx="1212692" cy="34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Montserrat Light"/>
              <a:buNone/>
              <a:tabLst/>
              <a:defRPr/>
            </a:pPr>
            <a: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  <a:t>Call Forwarding</a:t>
            </a:r>
            <a:b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</a:br>
            <a: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  <a:t>Signal</a:t>
            </a:r>
            <a:endParaRPr kumimoji="0" lang="en-US" sz="14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itchFamily="2" charset="77"/>
              <a:cs typeface="Montserrat Light"/>
              <a:sym typeface="Montserrat Light"/>
            </a:endParaRPr>
          </a:p>
        </p:txBody>
      </p:sp>
      <p:sp>
        <p:nvSpPr>
          <p:cNvPr id="58" name="Google Shape;289;p20">
            <a:extLst>
              <a:ext uri="{FF2B5EF4-FFF2-40B4-BE49-F238E27FC236}">
                <a16:creationId xmlns:a16="http://schemas.microsoft.com/office/drawing/2014/main" id="{BB4FFE1F-F6A0-2E8E-35BD-344040BDE96E}"/>
              </a:ext>
            </a:extLst>
          </p:cNvPr>
          <p:cNvSpPr txBox="1"/>
          <p:nvPr/>
        </p:nvSpPr>
        <p:spPr>
          <a:xfrm>
            <a:off x="7391132" y="5732386"/>
            <a:ext cx="1109700" cy="34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Montserrat Light"/>
              <a:buNone/>
              <a:tabLst/>
              <a:defRPr/>
            </a:pPr>
            <a: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  <a:t>Geofencing</a:t>
            </a:r>
            <a:r>
              <a:rPr kumimoji="0" lang="en-US" sz="11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 Subscriptions</a:t>
            </a:r>
            <a:endParaRPr kumimoji="0" lang="en-US" sz="1400" b="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 Light" panose="00000400000000000000" pitchFamily="2" charset="0"/>
              <a:cs typeface="Montserrat Light"/>
              <a:sym typeface="Montserrat Light"/>
            </a:endParaRPr>
          </a:p>
        </p:txBody>
      </p:sp>
      <p:sp>
        <p:nvSpPr>
          <p:cNvPr id="60" name="Google Shape;291;p20">
            <a:extLst>
              <a:ext uri="{FF2B5EF4-FFF2-40B4-BE49-F238E27FC236}">
                <a16:creationId xmlns:a16="http://schemas.microsoft.com/office/drawing/2014/main" id="{A1EA1C1E-FF42-23BA-98D6-A675B914070B}"/>
              </a:ext>
            </a:extLst>
          </p:cNvPr>
          <p:cNvSpPr txBox="1"/>
          <p:nvPr/>
        </p:nvSpPr>
        <p:spPr>
          <a:xfrm>
            <a:off x="9715212" y="4803607"/>
            <a:ext cx="921600" cy="34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Montserrat Light"/>
              <a:buNone/>
              <a:tabLst/>
              <a:defRPr/>
            </a:pPr>
            <a: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  <a:t>QoD Provisioning</a:t>
            </a:r>
            <a:endParaRPr kumimoji="0" lang="en-US" sz="14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itchFamily="2" charset="77"/>
              <a:cs typeface="Montserrat Light"/>
              <a:sym typeface="Montserrat Light"/>
            </a:endParaRPr>
          </a:p>
        </p:txBody>
      </p:sp>
      <p:sp>
        <p:nvSpPr>
          <p:cNvPr id="61" name="Google Shape;292;p20">
            <a:extLst>
              <a:ext uri="{FF2B5EF4-FFF2-40B4-BE49-F238E27FC236}">
                <a16:creationId xmlns:a16="http://schemas.microsoft.com/office/drawing/2014/main" id="{525EB716-DFBD-04E4-A330-ECF20D2D639A}"/>
              </a:ext>
            </a:extLst>
          </p:cNvPr>
          <p:cNvSpPr txBox="1"/>
          <p:nvPr/>
        </p:nvSpPr>
        <p:spPr>
          <a:xfrm>
            <a:off x="782198" y="5732386"/>
            <a:ext cx="1690307" cy="34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Montserrat Light"/>
              <a:buNone/>
              <a:tabLst/>
              <a:defRPr/>
            </a:pPr>
            <a:r>
              <a:rPr lang="en-US" sz="1100" b="1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  <a:t>Connectivity Insights </a:t>
            </a:r>
            <a:r>
              <a:rPr lang="en-US" sz="1100" b="0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  <a:t>Subscriptions</a:t>
            </a:r>
            <a:endParaRPr kumimoji="0" lang="en-US" sz="1400" b="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 Light" panose="00000400000000000000" pitchFamily="2" charset="0"/>
              <a:cs typeface="Montserrat Light"/>
              <a:sym typeface="Montserrat Light"/>
            </a:endParaRPr>
          </a:p>
        </p:txBody>
      </p:sp>
      <p:sp>
        <p:nvSpPr>
          <p:cNvPr id="62" name="Google Shape;293;p20">
            <a:extLst>
              <a:ext uri="{FF2B5EF4-FFF2-40B4-BE49-F238E27FC236}">
                <a16:creationId xmlns:a16="http://schemas.microsoft.com/office/drawing/2014/main" id="{43615E0D-7221-5EC2-7A6F-CE65D4C19DCB}"/>
              </a:ext>
            </a:extLst>
          </p:cNvPr>
          <p:cNvSpPr txBox="1"/>
          <p:nvPr/>
        </p:nvSpPr>
        <p:spPr>
          <a:xfrm>
            <a:off x="2971581" y="5762381"/>
            <a:ext cx="1567978" cy="3189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Montserrat Light"/>
              <a:buNone/>
              <a:tabLst/>
              <a:defRPr/>
            </a:pPr>
            <a:r>
              <a:rPr lang="en-US" sz="1100" b="1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  <a:t>Device Reachability </a:t>
            </a:r>
            <a:r>
              <a:rPr lang="en-US" sz="1100" b="0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  <a:t>Status Subscriptions</a:t>
            </a:r>
            <a:endParaRPr kumimoji="0" lang="en-US" sz="1400" b="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 Light" panose="00000400000000000000" pitchFamily="2" charset="0"/>
              <a:cs typeface="Montserrat Light"/>
              <a:sym typeface="Montserrat Light"/>
            </a:endParaRPr>
          </a:p>
        </p:txBody>
      </p:sp>
      <p:sp>
        <p:nvSpPr>
          <p:cNvPr id="51" name="Google Shape;282;p20">
            <a:extLst>
              <a:ext uri="{FF2B5EF4-FFF2-40B4-BE49-F238E27FC236}">
                <a16:creationId xmlns:a16="http://schemas.microsoft.com/office/drawing/2014/main" id="{AA6ADF93-CA5C-D85D-85FC-29AF890C5052}"/>
              </a:ext>
            </a:extLst>
          </p:cNvPr>
          <p:cNvSpPr txBox="1"/>
          <p:nvPr/>
        </p:nvSpPr>
        <p:spPr>
          <a:xfrm>
            <a:off x="8002532" y="4803607"/>
            <a:ext cx="1008714" cy="3489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Montserrat Light"/>
              <a:buNone/>
              <a:tabLst/>
              <a:defRPr/>
            </a:pPr>
            <a: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  <a:t>Population </a:t>
            </a:r>
            <a:b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</a:br>
            <a: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  <a:t>Density Data</a:t>
            </a:r>
            <a:endParaRPr kumimoji="0" lang="en-US" sz="14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itchFamily="2" charset="77"/>
              <a:cs typeface="Montserrat Light"/>
              <a:sym typeface="Montserrat Light"/>
            </a:endParaRPr>
          </a:p>
        </p:txBody>
      </p:sp>
      <p:sp>
        <p:nvSpPr>
          <p:cNvPr id="73" name="Google Shape;291;p20">
            <a:extLst>
              <a:ext uri="{FF2B5EF4-FFF2-40B4-BE49-F238E27FC236}">
                <a16:creationId xmlns:a16="http://schemas.microsoft.com/office/drawing/2014/main" id="{2B71981D-FEF5-5051-9076-8BDDE5ABECC7}"/>
              </a:ext>
            </a:extLst>
          </p:cNvPr>
          <p:cNvSpPr txBox="1"/>
          <p:nvPr/>
        </p:nvSpPr>
        <p:spPr>
          <a:xfrm>
            <a:off x="5184539" y="5732386"/>
            <a:ext cx="1561613" cy="34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Montserrat Light"/>
              <a:buNone/>
              <a:tabLst/>
              <a:defRPr/>
            </a:pPr>
            <a:r>
              <a:rPr lang="en-US" sz="1100" b="1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  <a:t>Device Roaming </a:t>
            </a:r>
            <a:r>
              <a:rPr lang="en-US" sz="1100" b="0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  <a:t>Status Subscriptions</a:t>
            </a:r>
            <a:endParaRPr kumimoji="0" lang="en-US" sz="1400" b="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 Light" panose="00000400000000000000" pitchFamily="2" charset="0"/>
              <a:cs typeface="Montserrat Light"/>
              <a:sym typeface="Montserrat Light"/>
            </a:endParaRPr>
          </a:p>
        </p:txBody>
      </p:sp>
      <p:sp>
        <p:nvSpPr>
          <p:cNvPr id="74" name="Google Shape;291;p20">
            <a:extLst>
              <a:ext uri="{FF2B5EF4-FFF2-40B4-BE49-F238E27FC236}">
                <a16:creationId xmlns:a16="http://schemas.microsoft.com/office/drawing/2014/main" id="{02F8F348-7884-3B15-3DA3-343745208FF8}"/>
              </a:ext>
            </a:extLst>
          </p:cNvPr>
          <p:cNvSpPr txBox="1"/>
          <p:nvPr/>
        </p:nvSpPr>
        <p:spPr>
          <a:xfrm>
            <a:off x="9145811" y="5732386"/>
            <a:ext cx="1065158" cy="34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Montserrat Light"/>
              <a:buNone/>
              <a:tabLst/>
              <a:defRPr/>
            </a:pPr>
            <a:r>
              <a:rPr lang="en-US" sz="1100" b="1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  <a:t>SIM Swap </a:t>
            </a:r>
            <a:r>
              <a:rPr lang="en-US" sz="1100" b="0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  <a:t>Subscriptions</a:t>
            </a:r>
            <a:endParaRPr kumimoji="0" lang="en-US" sz="1400" b="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 Light" panose="00000400000000000000" pitchFamily="2" charset="0"/>
              <a:cs typeface="Montserrat Light"/>
              <a:sym typeface="Montserrat Light"/>
            </a:endParaRPr>
          </a:p>
        </p:txBody>
      </p:sp>
      <p:grpSp>
        <p:nvGrpSpPr>
          <p:cNvPr id="81" name="Group 80">
            <a:extLst>
              <a:ext uri="{FF2B5EF4-FFF2-40B4-BE49-F238E27FC236}">
                <a16:creationId xmlns:a16="http://schemas.microsoft.com/office/drawing/2014/main" id="{D8F542F3-C1E8-FB25-CD56-2A7422DCBE30}"/>
              </a:ext>
            </a:extLst>
          </p:cNvPr>
          <p:cNvGrpSpPr/>
          <p:nvPr/>
        </p:nvGrpSpPr>
        <p:grpSpPr>
          <a:xfrm>
            <a:off x="8007486" y="2413823"/>
            <a:ext cx="1587547" cy="835202"/>
            <a:chOff x="3979031" y="2259636"/>
            <a:chExt cx="1587547" cy="835202"/>
          </a:xfrm>
        </p:grpSpPr>
        <p:sp>
          <p:nvSpPr>
            <p:cNvPr id="82" name="Google Shape;246;p20">
              <a:extLst>
                <a:ext uri="{FF2B5EF4-FFF2-40B4-BE49-F238E27FC236}">
                  <a16:creationId xmlns:a16="http://schemas.microsoft.com/office/drawing/2014/main" id="{439C81CC-DB5D-92BB-4E91-D6DE1159DDB4}"/>
                </a:ext>
              </a:extLst>
            </p:cNvPr>
            <p:cNvSpPr txBox="1"/>
            <p:nvPr/>
          </p:nvSpPr>
          <p:spPr>
            <a:xfrm>
              <a:off x="3979031" y="2745938"/>
              <a:ext cx="1587547" cy="348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Montserrat Light"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Device </a:t>
              </a:r>
              <a:b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</a:b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Reachability Status</a:t>
              </a:r>
              <a:br>
                <a:rPr kumimoji="0" lang="en-US" sz="1100" b="0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 Light" panose="00000400000000000000" pitchFamily="2" charset="0"/>
                  <a:ea typeface="Montserrat Light"/>
                  <a:cs typeface="Montserrat Light"/>
                  <a:sym typeface="Montserrat Light"/>
                </a:rPr>
              </a:br>
              <a:endParaRPr kumimoji="0" lang="en-US" sz="14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cs typeface="Montserrat Light"/>
                <a:sym typeface="Montserrat Light"/>
              </a:endParaRPr>
            </a:p>
          </p:txBody>
        </p:sp>
        <p:grpSp>
          <p:nvGrpSpPr>
            <p:cNvPr id="83" name="Google Shape;265;p20">
              <a:extLst>
                <a:ext uri="{FF2B5EF4-FFF2-40B4-BE49-F238E27FC236}">
                  <a16:creationId xmlns:a16="http://schemas.microsoft.com/office/drawing/2014/main" id="{B83B8043-8BC1-6DA3-2DF0-D6AE084098D2}"/>
                </a:ext>
              </a:extLst>
            </p:cNvPr>
            <p:cNvGrpSpPr/>
            <p:nvPr/>
          </p:nvGrpSpPr>
          <p:grpSpPr>
            <a:xfrm>
              <a:off x="4505947" y="2259636"/>
              <a:ext cx="483063" cy="483063"/>
              <a:chOff x="8745646" y="112631"/>
              <a:chExt cx="483063" cy="483063"/>
            </a:xfrm>
          </p:grpSpPr>
          <p:pic>
            <p:nvPicPr>
              <p:cNvPr id="84" name="Google Shape;266;p20" descr="Smart Phone outline">
                <a:extLst>
                  <a:ext uri="{FF2B5EF4-FFF2-40B4-BE49-F238E27FC236}">
                    <a16:creationId xmlns:a16="http://schemas.microsoft.com/office/drawing/2014/main" id="{AA4FBC1D-7D0F-493A-CF3E-4452D557EA90}"/>
                  </a:ext>
                </a:extLst>
              </p:cNvPr>
              <p:cNvPicPr preferRelativeResize="0"/>
              <p:nvPr/>
            </p:nvPicPr>
            <p:blipFill rotWithShape="1">
              <a:blip r:embed="rId10">
                <a:alphaModFix/>
              </a:blip>
              <a:srcRect/>
              <a:stretch/>
            </p:blipFill>
            <p:spPr>
              <a:xfrm>
                <a:off x="8745646" y="112631"/>
                <a:ext cx="483063" cy="483063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85" name="Google Shape;267;p20" descr="World outline">
                <a:extLst>
                  <a:ext uri="{FF2B5EF4-FFF2-40B4-BE49-F238E27FC236}">
                    <a16:creationId xmlns:a16="http://schemas.microsoft.com/office/drawing/2014/main" id="{F9620F9E-46E3-7EA1-91C4-BB76C8ACEEC7}"/>
                  </a:ext>
                </a:extLst>
              </p:cNvPr>
              <p:cNvPicPr preferRelativeResize="0"/>
              <p:nvPr/>
            </p:nvPicPr>
            <p:blipFill rotWithShape="1">
              <a:blip r:embed="rId11">
                <a:alphaModFix/>
              </a:blip>
              <a:srcRect/>
              <a:stretch/>
            </p:blipFill>
            <p:spPr>
              <a:xfrm rot="1645624" flipH="1">
                <a:off x="8883107" y="261061"/>
                <a:ext cx="189144" cy="189144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sp>
        <p:nvSpPr>
          <p:cNvPr id="103" name="Google Shape;248;p20">
            <a:extLst>
              <a:ext uri="{FF2B5EF4-FFF2-40B4-BE49-F238E27FC236}">
                <a16:creationId xmlns:a16="http://schemas.microsoft.com/office/drawing/2014/main" id="{B948961F-E848-D600-C932-F6F78E75BEAC}"/>
              </a:ext>
            </a:extLst>
          </p:cNvPr>
          <p:cNvSpPr txBox="1"/>
          <p:nvPr/>
        </p:nvSpPr>
        <p:spPr>
          <a:xfrm>
            <a:off x="4271676" y="4803607"/>
            <a:ext cx="1212692" cy="34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Montserrat Light"/>
              <a:buNone/>
              <a:tabLst/>
              <a:defRPr/>
            </a:pPr>
            <a: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  <a:t>Carrier </a:t>
            </a:r>
            <a:b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</a:br>
            <a: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  <a:t>Billing Refund</a:t>
            </a:r>
            <a:endParaRPr kumimoji="0" lang="en-US" sz="14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itchFamily="2" charset="77"/>
              <a:cs typeface="Montserrat Light"/>
              <a:sym typeface="Montserrat Light"/>
            </a:endParaRPr>
          </a:p>
        </p:txBody>
      </p:sp>
      <p:sp>
        <p:nvSpPr>
          <p:cNvPr id="105" name="Google Shape;286;p20">
            <a:extLst>
              <a:ext uri="{FF2B5EF4-FFF2-40B4-BE49-F238E27FC236}">
                <a16:creationId xmlns:a16="http://schemas.microsoft.com/office/drawing/2014/main" id="{18043FBB-13C2-89D7-5F42-8ABB028BFF56}"/>
              </a:ext>
            </a:extLst>
          </p:cNvPr>
          <p:cNvSpPr txBox="1"/>
          <p:nvPr/>
        </p:nvSpPr>
        <p:spPr>
          <a:xfrm>
            <a:off x="643812" y="4803607"/>
            <a:ext cx="921600" cy="34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Montserrat Light"/>
              <a:buNone/>
              <a:tabLst/>
              <a:defRPr/>
            </a:pPr>
            <a: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  <a:t>Application Profiles</a:t>
            </a:r>
          </a:p>
        </p:txBody>
      </p:sp>
      <p:sp>
        <p:nvSpPr>
          <p:cNvPr id="112" name="Google Shape;235;p20">
            <a:extLst>
              <a:ext uri="{FF2B5EF4-FFF2-40B4-BE49-F238E27FC236}">
                <a16:creationId xmlns:a16="http://schemas.microsoft.com/office/drawing/2014/main" id="{F5699472-2A00-0858-91FC-5780692288D3}"/>
              </a:ext>
            </a:extLst>
          </p:cNvPr>
          <p:cNvSpPr/>
          <p:nvPr/>
        </p:nvSpPr>
        <p:spPr>
          <a:xfrm>
            <a:off x="4934440" y="1763263"/>
            <a:ext cx="6402661" cy="2559166"/>
          </a:xfrm>
          <a:prstGeom prst="roundRect">
            <a:avLst>
              <a:gd name="adj" fmla="val 5074"/>
            </a:avLst>
          </a:prstGeom>
          <a:noFill/>
          <a:ln w="127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72000" tIns="0" rIns="72000" bIns="7200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Montserrat Light"/>
              <a:buNone/>
              <a:tabLst/>
              <a:defRPr/>
            </a:pPr>
            <a:r>
              <a:rPr kumimoji="0" lang="en-US" sz="16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Updated </a:t>
            </a:r>
            <a:r>
              <a:rPr lang="en-US" sz="1600" kern="0" dirty="0">
                <a:solidFill>
                  <a:srgbClr val="000000"/>
                </a:solidFill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i</a:t>
            </a:r>
            <a:r>
              <a:rPr kumimoji="0" lang="en-US" sz="16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nitial CAMARA APIs (v0.y.z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Montserrat Light"/>
              <a:buNone/>
              <a:tabLst/>
              <a:defRPr/>
            </a:pPr>
            <a:r>
              <a:rPr kumimoji="0" lang="en-US" sz="14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Previous versions launched in at least one market</a:t>
            </a:r>
            <a:r>
              <a:rPr kumimoji="0" lang="en-US" sz="1400" b="0" i="0" u="none" strike="noStrike" kern="0" cap="none" spc="0" normalizeH="0" baseline="3000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1</a:t>
            </a:r>
            <a:endParaRPr kumimoji="0" lang="en-US" sz="1400" b="0" i="0" u="none" strike="noStrike" kern="0" cap="none" spc="0" normalizeH="0" baseline="3000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 Light" panose="00000400000000000000" pitchFamily="2" charset="0"/>
              <a:cs typeface="Montserrat Light"/>
              <a:sym typeface="Montserrat Light"/>
            </a:endParaRPr>
          </a:p>
        </p:txBody>
      </p:sp>
      <p:sp>
        <p:nvSpPr>
          <p:cNvPr id="114" name="Google Shape;274;p20">
            <a:extLst>
              <a:ext uri="{FF2B5EF4-FFF2-40B4-BE49-F238E27FC236}">
                <a16:creationId xmlns:a16="http://schemas.microsoft.com/office/drawing/2014/main" id="{4847EB9B-7EA2-ED1B-ECF9-743FBAF649C6}"/>
              </a:ext>
            </a:extLst>
          </p:cNvPr>
          <p:cNvSpPr txBox="1"/>
          <p:nvPr/>
        </p:nvSpPr>
        <p:spPr>
          <a:xfrm>
            <a:off x="180993" y="6231138"/>
            <a:ext cx="7012742" cy="222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Montserrat Light"/>
              <a:buNone/>
              <a:tabLst/>
              <a:defRPr/>
            </a:pPr>
            <a:r>
              <a:rPr kumimoji="0" lang="en-US" sz="8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1 Source: </a:t>
            </a:r>
            <a:r>
              <a:rPr kumimoji="0" lang="en-US" sz="8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  <a:hlinkClick r:id="rId13"/>
              </a:rPr>
              <a:t>https://www.open-gateway.com/operators-map</a:t>
            </a:r>
            <a:r>
              <a:rPr kumimoji="0" lang="en-US" sz="8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 and </a:t>
            </a:r>
            <a:r>
              <a:rPr kumimoji="0" lang="en-US" sz="8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  <a:hlinkClick r:id="rId14"/>
              </a:rPr>
              <a:t>https://wiki.camaraproject.org/display/CAM/Meta-release+Fall24</a:t>
            </a:r>
            <a:r>
              <a:rPr kumimoji="0" lang="en-US" sz="8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 </a:t>
            </a:r>
            <a:endParaRPr kumimoji="0" lang="en-US" sz="800" b="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 Light" panose="00000400000000000000" pitchFamily="2" charset="0"/>
              <a:cs typeface="Montserrat Light"/>
              <a:sym typeface="Montserrat Light"/>
            </a:endParaRPr>
          </a:p>
        </p:txBody>
      </p:sp>
      <p:grpSp>
        <p:nvGrpSpPr>
          <p:cNvPr id="91" name="Group 90">
            <a:extLst>
              <a:ext uri="{FF2B5EF4-FFF2-40B4-BE49-F238E27FC236}">
                <a16:creationId xmlns:a16="http://schemas.microsoft.com/office/drawing/2014/main" id="{5D847D55-1D3B-4A18-D34A-2BF9870CFA53}"/>
              </a:ext>
            </a:extLst>
          </p:cNvPr>
          <p:cNvGrpSpPr/>
          <p:nvPr/>
        </p:nvGrpSpPr>
        <p:grpSpPr>
          <a:xfrm>
            <a:off x="10193612" y="3445821"/>
            <a:ext cx="933450" cy="827576"/>
            <a:chOff x="5302204" y="2304219"/>
            <a:chExt cx="933450" cy="827576"/>
          </a:xfrm>
        </p:grpSpPr>
        <p:sp>
          <p:nvSpPr>
            <p:cNvPr id="12" name="Google Shape;243;p20">
              <a:extLst>
                <a:ext uri="{FF2B5EF4-FFF2-40B4-BE49-F238E27FC236}">
                  <a16:creationId xmlns:a16="http://schemas.microsoft.com/office/drawing/2014/main" id="{D9153E5A-FE5A-D169-FF54-C92EE616B482}"/>
                </a:ext>
              </a:extLst>
            </p:cNvPr>
            <p:cNvSpPr txBox="1"/>
            <p:nvPr/>
          </p:nvSpPr>
          <p:spPr>
            <a:xfrm>
              <a:off x="5302204" y="2782895"/>
              <a:ext cx="933450" cy="348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Montserrat Light"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Quality on </a:t>
              </a:r>
              <a:b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</a:b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Demand </a:t>
              </a:r>
              <a:endPara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Montserrat Light"/>
                <a:sym typeface="Montserrat Light"/>
              </a:endParaRPr>
            </a:p>
          </p:txBody>
        </p:sp>
        <p:pic>
          <p:nvPicPr>
            <p:cNvPr id="25" name="Google Shape;256;p20">
              <a:extLst>
                <a:ext uri="{FF2B5EF4-FFF2-40B4-BE49-F238E27FC236}">
                  <a16:creationId xmlns:a16="http://schemas.microsoft.com/office/drawing/2014/main" id="{2C522BCB-4CEB-4F83-5517-C2DE274D2E59}"/>
                </a:ext>
              </a:extLst>
            </p:cNvPr>
            <p:cNvPicPr preferRelativeResize="0"/>
            <p:nvPr/>
          </p:nvPicPr>
          <p:blipFill rotWithShape="1">
            <a:blip r:embed="rId15">
              <a:alphaModFix/>
            </a:blip>
            <a:srcRect/>
            <a:stretch/>
          </p:blipFill>
          <p:spPr>
            <a:xfrm>
              <a:off x="5559871" y="2304219"/>
              <a:ext cx="316548" cy="430174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695D440A-CC1F-FBFB-0CA6-5C6E40221458}"/>
              </a:ext>
            </a:extLst>
          </p:cNvPr>
          <p:cNvGrpSpPr/>
          <p:nvPr/>
        </p:nvGrpSpPr>
        <p:grpSpPr>
          <a:xfrm>
            <a:off x="7389586" y="3488975"/>
            <a:ext cx="1164358" cy="784422"/>
            <a:chOff x="6152666" y="2331686"/>
            <a:chExt cx="1164358" cy="784422"/>
          </a:xfrm>
        </p:grpSpPr>
        <p:sp>
          <p:nvSpPr>
            <p:cNvPr id="13" name="Google Shape;244;p20">
              <a:extLst>
                <a:ext uri="{FF2B5EF4-FFF2-40B4-BE49-F238E27FC236}">
                  <a16:creationId xmlns:a16="http://schemas.microsoft.com/office/drawing/2014/main" id="{E63209AD-71CE-DD2F-F1A1-0A9676FF318C}"/>
                </a:ext>
              </a:extLst>
            </p:cNvPr>
            <p:cNvSpPr txBox="1"/>
            <p:nvPr/>
          </p:nvSpPr>
          <p:spPr>
            <a:xfrm>
              <a:off x="6152666" y="2767208"/>
              <a:ext cx="1164358" cy="348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Montserrat Light"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Home </a:t>
              </a:r>
              <a:b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</a:b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Devices</a:t>
              </a:r>
              <a:r>
                <a:rPr lang="en-US" sz="1100" b="1" kern="0" dirty="0">
                  <a:solidFill>
                    <a:srgbClr val="000000"/>
                  </a:solidFill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 </a:t>
              </a: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QoD</a:t>
              </a:r>
              <a:endPara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Montserrat Light"/>
                <a:sym typeface="Montserrat Light"/>
              </a:endParaRPr>
            </a:p>
          </p:txBody>
        </p:sp>
        <p:grpSp>
          <p:nvGrpSpPr>
            <p:cNvPr id="26" name="Google Shape;257;p20">
              <a:extLst>
                <a:ext uri="{FF2B5EF4-FFF2-40B4-BE49-F238E27FC236}">
                  <a16:creationId xmlns:a16="http://schemas.microsoft.com/office/drawing/2014/main" id="{53BCC4F2-AEB8-057A-CEF6-0DFC486AAB48}"/>
                </a:ext>
              </a:extLst>
            </p:cNvPr>
            <p:cNvGrpSpPr/>
            <p:nvPr/>
          </p:nvGrpSpPr>
          <p:grpSpPr>
            <a:xfrm>
              <a:off x="6491819" y="2331686"/>
              <a:ext cx="447453" cy="402561"/>
              <a:chOff x="10498363" y="196296"/>
              <a:chExt cx="789298" cy="699134"/>
            </a:xfrm>
          </p:grpSpPr>
          <p:sp>
            <p:nvSpPr>
              <p:cNvPr id="27" name="Google Shape;258;p20">
                <a:extLst>
                  <a:ext uri="{FF2B5EF4-FFF2-40B4-BE49-F238E27FC236}">
                    <a16:creationId xmlns:a16="http://schemas.microsoft.com/office/drawing/2014/main" id="{7FDF9334-E41F-25E1-C21C-EBBBB597F092}"/>
                  </a:ext>
                </a:extLst>
              </p:cNvPr>
              <p:cNvSpPr/>
              <p:nvPr/>
            </p:nvSpPr>
            <p:spPr>
              <a:xfrm>
                <a:off x="10498363" y="196296"/>
                <a:ext cx="789298" cy="699134"/>
              </a:xfrm>
              <a:custGeom>
                <a:avLst/>
                <a:gdLst/>
                <a:ahLst/>
                <a:cxnLst/>
                <a:rect l="l" t="t" r="r" b="b"/>
                <a:pathLst>
                  <a:path w="789298" h="699134" extrusionOk="0">
                    <a:moveTo>
                      <a:pt x="789299" y="374885"/>
                    </a:moveTo>
                    <a:lnTo>
                      <a:pt x="394649" y="0"/>
                    </a:lnTo>
                    <a:lnTo>
                      <a:pt x="0" y="374885"/>
                    </a:lnTo>
                    <a:lnTo>
                      <a:pt x="61808" y="436683"/>
                    </a:lnTo>
                    <a:lnTo>
                      <a:pt x="108899" y="392087"/>
                    </a:lnTo>
                    <a:lnTo>
                      <a:pt x="108899" y="698906"/>
                    </a:lnTo>
                    <a:lnTo>
                      <a:pt x="680399" y="699135"/>
                    </a:lnTo>
                    <a:lnTo>
                      <a:pt x="680399" y="391687"/>
                    </a:lnTo>
                    <a:lnTo>
                      <a:pt x="727729" y="436455"/>
                    </a:lnTo>
                    <a:close/>
                    <a:moveTo>
                      <a:pt x="661349" y="680085"/>
                    </a:moveTo>
                    <a:lnTo>
                      <a:pt x="127949" y="679866"/>
                    </a:lnTo>
                    <a:lnTo>
                      <a:pt x="127949" y="374047"/>
                    </a:lnTo>
                    <a:lnTo>
                      <a:pt x="394649" y="121482"/>
                    </a:lnTo>
                    <a:lnTo>
                      <a:pt x="661349" y="373675"/>
                    </a:lnTo>
                    <a:close/>
                    <a:moveTo>
                      <a:pt x="62160" y="410108"/>
                    </a:moveTo>
                    <a:lnTo>
                      <a:pt x="27299" y="375285"/>
                    </a:lnTo>
                    <a:lnTo>
                      <a:pt x="394649" y="26251"/>
                    </a:lnTo>
                    <a:lnTo>
                      <a:pt x="762000" y="375285"/>
                    </a:lnTo>
                    <a:lnTo>
                      <a:pt x="727358" y="409880"/>
                    </a:lnTo>
                    <a:lnTo>
                      <a:pt x="394649" y="9525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Montserrat Light"/>
                  <a:buNone/>
                  <a:tabLst/>
                  <a:defRPr/>
                </a:pPr>
                <a:endParaRPr kumimoji="0" lang="en-US" sz="1800" b="0" i="0" u="none" strike="noStrike" kern="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 Light" panose="00000400000000000000" pitchFamily="2" charset="0"/>
                  <a:ea typeface="Montserrat Light"/>
                  <a:cs typeface="Montserrat Light"/>
                  <a:sym typeface="Montserrat Light"/>
                </a:endParaRPr>
              </a:p>
            </p:txBody>
          </p:sp>
          <p:pic>
            <p:nvPicPr>
              <p:cNvPr id="28" name="Google Shape;259;p20">
                <a:extLst>
                  <a:ext uri="{FF2B5EF4-FFF2-40B4-BE49-F238E27FC236}">
                    <a16:creationId xmlns:a16="http://schemas.microsoft.com/office/drawing/2014/main" id="{D37F76DF-19ED-5828-EF88-0F13FA2A4936}"/>
                  </a:ext>
                </a:extLst>
              </p:cNvPr>
              <p:cNvPicPr preferRelativeResize="0"/>
              <p:nvPr/>
            </p:nvPicPr>
            <p:blipFill rotWithShape="1">
              <a:blip r:embed="rId15">
                <a:alphaModFix/>
              </a:blip>
              <a:srcRect/>
              <a:stretch/>
            </p:blipFill>
            <p:spPr>
              <a:xfrm>
                <a:off x="10774653" y="514538"/>
                <a:ext cx="236718" cy="321689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grpSp>
        <p:nvGrpSpPr>
          <p:cNvPr id="96" name="Group 95">
            <a:extLst>
              <a:ext uri="{FF2B5EF4-FFF2-40B4-BE49-F238E27FC236}">
                <a16:creationId xmlns:a16="http://schemas.microsoft.com/office/drawing/2014/main" id="{0E16F974-E38A-CA4A-7482-BA05FE5BDBAD}"/>
              </a:ext>
            </a:extLst>
          </p:cNvPr>
          <p:cNvGrpSpPr/>
          <p:nvPr/>
        </p:nvGrpSpPr>
        <p:grpSpPr>
          <a:xfrm>
            <a:off x="6176254" y="3496069"/>
            <a:ext cx="914400" cy="777328"/>
            <a:chOff x="3294172" y="2331692"/>
            <a:chExt cx="914400" cy="777328"/>
          </a:xfrm>
        </p:grpSpPr>
        <p:sp>
          <p:nvSpPr>
            <p:cNvPr id="97" name="Google Shape;240;p20">
              <a:extLst>
                <a:ext uri="{FF2B5EF4-FFF2-40B4-BE49-F238E27FC236}">
                  <a16:creationId xmlns:a16="http://schemas.microsoft.com/office/drawing/2014/main" id="{AEF4BBD8-700D-415F-FC99-070F12CE115F}"/>
                </a:ext>
              </a:extLst>
            </p:cNvPr>
            <p:cNvSpPr txBox="1"/>
            <p:nvPr/>
          </p:nvSpPr>
          <p:spPr>
            <a:xfrm>
              <a:off x="3294172" y="2760120"/>
              <a:ext cx="914400" cy="348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Montserrat Light"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Location</a:t>
              </a:r>
              <a:b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</a:b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Retrieval</a:t>
              </a:r>
              <a:endPara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Montserrat Light"/>
                <a:sym typeface="Montserrat Light"/>
              </a:endParaRPr>
            </a:p>
          </p:txBody>
        </p:sp>
        <p:grpSp>
          <p:nvGrpSpPr>
            <p:cNvPr id="98" name="Google Shape;252;p20">
              <a:extLst>
                <a:ext uri="{FF2B5EF4-FFF2-40B4-BE49-F238E27FC236}">
                  <a16:creationId xmlns:a16="http://schemas.microsoft.com/office/drawing/2014/main" id="{FD23A3C2-E604-F639-8922-25370E540BB8}"/>
                </a:ext>
              </a:extLst>
            </p:cNvPr>
            <p:cNvGrpSpPr/>
            <p:nvPr/>
          </p:nvGrpSpPr>
          <p:grpSpPr>
            <a:xfrm>
              <a:off x="3508850" y="2331692"/>
              <a:ext cx="450128" cy="398464"/>
              <a:chOff x="110067" y="275988"/>
              <a:chExt cx="533453" cy="745490"/>
            </a:xfrm>
          </p:grpSpPr>
          <p:sp>
            <p:nvSpPr>
              <p:cNvPr id="99" name="Google Shape;253;p20">
                <a:extLst>
                  <a:ext uri="{FF2B5EF4-FFF2-40B4-BE49-F238E27FC236}">
                    <a16:creationId xmlns:a16="http://schemas.microsoft.com/office/drawing/2014/main" id="{6D7B363C-AF7D-C3F3-986A-05AA1DCCB634}"/>
                  </a:ext>
                </a:extLst>
              </p:cNvPr>
              <p:cNvSpPr/>
              <p:nvPr/>
            </p:nvSpPr>
            <p:spPr>
              <a:xfrm>
                <a:off x="110067" y="747073"/>
                <a:ext cx="533453" cy="274405"/>
              </a:xfrm>
              <a:prstGeom prst="ellipse">
                <a:avLst/>
              </a:prstGeom>
              <a:noFill/>
              <a:ln w="19050" cap="flat" cmpd="sng">
                <a:solidFill>
                  <a:schemeClr val="dk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Montserrat Light"/>
                  <a:buNone/>
                  <a:tabLst/>
                  <a:defRPr/>
                </a:pPr>
                <a:endParaRPr kumimoji="0" lang="en-US" sz="1800" b="0" i="0" u="none" strike="noStrike" kern="0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ontserrat Light" panose="00000400000000000000" pitchFamily="2" charset="0"/>
                  <a:ea typeface="Montserrat Light"/>
                  <a:cs typeface="Montserrat Light"/>
                  <a:sym typeface="Montserrat Light"/>
                </a:endParaRPr>
              </a:p>
            </p:txBody>
          </p:sp>
          <p:sp>
            <p:nvSpPr>
              <p:cNvPr id="100" name="Google Shape;254;p20">
                <a:extLst>
                  <a:ext uri="{FF2B5EF4-FFF2-40B4-BE49-F238E27FC236}">
                    <a16:creationId xmlns:a16="http://schemas.microsoft.com/office/drawing/2014/main" id="{E8EB8587-5352-BD60-7484-907A48B830A4}"/>
                  </a:ext>
                </a:extLst>
              </p:cNvPr>
              <p:cNvSpPr/>
              <p:nvPr/>
            </p:nvSpPr>
            <p:spPr>
              <a:xfrm>
                <a:off x="290399" y="438738"/>
                <a:ext cx="184745" cy="165331"/>
              </a:xfrm>
              <a:custGeom>
                <a:avLst/>
                <a:gdLst/>
                <a:ahLst/>
                <a:cxnLst/>
                <a:rect l="l" t="t" r="r" b="b"/>
                <a:pathLst>
                  <a:path w="131122" h="89623" extrusionOk="0">
                    <a:moveTo>
                      <a:pt x="6630" y="34860"/>
                    </a:moveTo>
                    <a:lnTo>
                      <a:pt x="0" y="41490"/>
                    </a:lnTo>
                    <a:lnTo>
                      <a:pt x="48129" y="89623"/>
                    </a:lnTo>
                    <a:lnTo>
                      <a:pt x="131123" y="6630"/>
                    </a:lnTo>
                    <a:lnTo>
                      <a:pt x="124493" y="0"/>
                    </a:lnTo>
                    <a:lnTo>
                      <a:pt x="48129" y="76364"/>
                    </a:lnTo>
                    <a:lnTo>
                      <a:pt x="6630" y="3486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Montserrat Light"/>
                  <a:buNone/>
                  <a:tabLst/>
                  <a:defRPr/>
                </a:pPr>
                <a:endParaRPr kumimoji="0" lang="en-US" sz="1800" b="0" i="0" u="none" strike="noStrike" kern="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 Light" panose="00000400000000000000" pitchFamily="2" charset="0"/>
                  <a:ea typeface="Montserrat Light"/>
                  <a:cs typeface="Montserrat Light"/>
                  <a:sym typeface="Montserrat Light"/>
                </a:endParaRPr>
              </a:p>
            </p:txBody>
          </p:sp>
          <p:sp>
            <p:nvSpPr>
              <p:cNvPr id="101" name="Google Shape;255;p20">
                <a:extLst>
                  <a:ext uri="{FF2B5EF4-FFF2-40B4-BE49-F238E27FC236}">
                    <a16:creationId xmlns:a16="http://schemas.microsoft.com/office/drawing/2014/main" id="{2468CC27-3559-DC5D-4791-BE7B78D4D350}"/>
                  </a:ext>
                </a:extLst>
              </p:cNvPr>
              <p:cNvSpPr/>
              <p:nvPr/>
            </p:nvSpPr>
            <p:spPr>
              <a:xfrm>
                <a:off x="186756" y="275988"/>
                <a:ext cx="398839" cy="647794"/>
              </a:xfrm>
              <a:custGeom>
                <a:avLst/>
                <a:gdLst/>
                <a:ahLst/>
                <a:cxnLst/>
                <a:rect l="l" t="t" r="r" b="b"/>
                <a:pathLst>
                  <a:path w="398839" h="647794" extrusionOk="0">
                    <a:moveTo>
                      <a:pt x="199424" y="0"/>
                    </a:moveTo>
                    <a:cubicBezTo>
                      <a:pt x="133326" y="-74"/>
                      <a:pt x="71535" y="32786"/>
                      <a:pt x="34642" y="87630"/>
                    </a:cubicBezTo>
                    <a:cubicBezTo>
                      <a:pt x="-2447" y="142353"/>
                      <a:pt x="-10280" y="211806"/>
                      <a:pt x="13687" y="273415"/>
                    </a:cubicBezTo>
                    <a:lnTo>
                      <a:pt x="104174" y="473497"/>
                    </a:lnTo>
                    <a:lnTo>
                      <a:pt x="182279" y="637327"/>
                    </a:lnTo>
                    <a:cubicBezTo>
                      <a:pt x="187147" y="646796"/>
                      <a:pt x="198771" y="650525"/>
                      <a:pt x="208240" y="645657"/>
                    </a:cubicBezTo>
                    <a:cubicBezTo>
                      <a:pt x="211817" y="643818"/>
                      <a:pt x="214730" y="640905"/>
                      <a:pt x="216569" y="637327"/>
                    </a:cubicBezTo>
                    <a:lnTo>
                      <a:pt x="294674" y="473497"/>
                    </a:lnTo>
                    <a:lnTo>
                      <a:pt x="385162" y="273415"/>
                    </a:lnTo>
                    <a:cubicBezTo>
                      <a:pt x="409117" y="211820"/>
                      <a:pt x="401283" y="142387"/>
                      <a:pt x="364207" y="87678"/>
                    </a:cubicBezTo>
                    <a:cubicBezTo>
                      <a:pt x="327324" y="32816"/>
                      <a:pt x="265531" y="-63"/>
                      <a:pt x="199424" y="0"/>
                    </a:cubicBezTo>
                    <a:close/>
                    <a:moveTo>
                      <a:pt x="367578" y="266110"/>
                    </a:moveTo>
                    <a:lnTo>
                      <a:pt x="277482" y="465325"/>
                    </a:lnTo>
                    <a:lnTo>
                      <a:pt x="199548" y="628831"/>
                    </a:lnTo>
                    <a:lnTo>
                      <a:pt x="199291" y="628831"/>
                    </a:lnTo>
                    <a:lnTo>
                      <a:pt x="121519" y="465677"/>
                    </a:lnTo>
                    <a:lnTo>
                      <a:pt x="31260" y="266110"/>
                    </a:lnTo>
                    <a:cubicBezTo>
                      <a:pt x="9752" y="210405"/>
                      <a:pt x="16920" y="147694"/>
                      <a:pt x="50444" y="98279"/>
                    </a:cubicBezTo>
                    <a:cubicBezTo>
                      <a:pt x="105920" y="16000"/>
                      <a:pt x="217593" y="-5726"/>
                      <a:pt x="299872" y="49750"/>
                    </a:cubicBezTo>
                    <a:cubicBezTo>
                      <a:pt x="319061" y="62689"/>
                      <a:pt x="335570" y="79212"/>
                      <a:pt x="348490" y="98412"/>
                    </a:cubicBezTo>
                    <a:cubicBezTo>
                      <a:pt x="381948" y="147806"/>
                      <a:pt x="389079" y="210460"/>
                      <a:pt x="367578" y="266110"/>
                    </a:cubicBezTo>
                    <a:close/>
                  </a:path>
                </a:pathLst>
              </a:custGeom>
              <a:solidFill>
                <a:schemeClr val="dk1"/>
              </a:solidFill>
              <a:ln w="12700" cap="flat" cmpd="sng">
                <a:solidFill>
                  <a:schemeClr val="dk1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Montserrat Light"/>
                  <a:buNone/>
                  <a:tabLst/>
                  <a:defRPr/>
                </a:pPr>
                <a:endParaRPr kumimoji="0" lang="en-US" sz="1800" b="0" i="0" u="none" strike="noStrike" kern="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 Light" panose="00000400000000000000" pitchFamily="2" charset="0"/>
                  <a:ea typeface="Montserrat Light"/>
                  <a:cs typeface="Montserrat Light"/>
                  <a:sym typeface="Montserrat Light"/>
                </a:endParaRPr>
              </a:p>
            </p:txBody>
          </p:sp>
        </p:grpSp>
      </p:grp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73341BC4-F3AE-D8D5-13E9-DC55619D634E}"/>
              </a:ext>
            </a:extLst>
          </p:cNvPr>
          <p:cNvGrpSpPr/>
          <p:nvPr/>
        </p:nvGrpSpPr>
        <p:grpSpPr>
          <a:xfrm>
            <a:off x="8852876" y="3465046"/>
            <a:ext cx="1041803" cy="808351"/>
            <a:chOff x="5217532" y="2304219"/>
            <a:chExt cx="1041803" cy="808351"/>
          </a:xfrm>
        </p:grpSpPr>
        <p:sp>
          <p:nvSpPr>
            <p:cNvPr id="107" name="Google Shape;243;p20">
              <a:extLst>
                <a:ext uri="{FF2B5EF4-FFF2-40B4-BE49-F238E27FC236}">
                  <a16:creationId xmlns:a16="http://schemas.microsoft.com/office/drawing/2014/main" id="{0B3670C5-916D-DC4F-FF93-7BF4887866E4}"/>
                </a:ext>
              </a:extLst>
            </p:cNvPr>
            <p:cNvSpPr txBox="1"/>
            <p:nvPr/>
          </p:nvSpPr>
          <p:spPr>
            <a:xfrm>
              <a:off x="5217532" y="2763670"/>
              <a:ext cx="1041803" cy="348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Montserrat Light"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QoS </a:t>
              </a:r>
              <a:b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</a:b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Profiles</a:t>
              </a:r>
              <a:endPara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Montserrat Light"/>
                <a:sym typeface="Montserrat Light"/>
              </a:endParaRPr>
            </a:p>
          </p:txBody>
        </p:sp>
        <p:pic>
          <p:nvPicPr>
            <p:cNvPr id="108" name="Google Shape;256;p20">
              <a:extLst>
                <a:ext uri="{FF2B5EF4-FFF2-40B4-BE49-F238E27FC236}">
                  <a16:creationId xmlns:a16="http://schemas.microsoft.com/office/drawing/2014/main" id="{B3597242-5043-046C-8D4C-C79B535122D1}"/>
                </a:ext>
              </a:extLst>
            </p:cNvPr>
            <p:cNvPicPr preferRelativeResize="0"/>
            <p:nvPr/>
          </p:nvPicPr>
          <p:blipFill rotWithShape="1">
            <a:blip r:embed="rId15">
              <a:alphaModFix/>
            </a:blip>
            <a:srcRect/>
            <a:stretch/>
          </p:blipFill>
          <p:spPr>
            <a:xfrm>
              <a:off x="5559871" y="2304219"/>
              <a:ext cx="316548" cy="430174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7B6823D0-2382-71CF-7623-4E4C49426721}"/>
              </a:ext>
            </a:extLst>
          </p:cNvPr>
          <p:cNvGrpSpPr/>
          <p:nvPr/>
        </p:nvGrpSpPr>
        <p:grpSpPr>
          <a:xfrm>
            <a:off x="5132654" y="3379858"/>
            <a:ext cx="744668" cy="893539"/>
            <a:chOff x="6426509" y="470715"/>
            <a:chExt cx="744668" cy="893539"/>
          </a:xfrm>
        </p:grpSpPr>
        <p:sp>
          <p:nvSpPr>
            <p:cNvPr id="119" name="Google Shape;241;p20">
              <a:extLst>
                <a:ext uri="{FF2B5EF4-FFF2-40B4-BE49-F238E27FC236}">
                  <a16:creationId xmlns:a16="http://schemas.microsoft.com/office/drawing/2014/main" id="{FF83DC33-D49A-C6C4-0127-17FCFF347E37}"/>
                </a:ext>
              </a:extLst>
            </p:cNvPr>
            <p:cNvSpPr txBox="1"/>
            <p:nvPr/>
          </p:nvSpPr>
          <p:spPr>
            <a:xfrm>
              <a:off x="6426509" y="998910"/>
              <a:ext cx="744668" cy="36534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Montserrat Light"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KYC</a:t>
              </a:r>
              <a:r>
                <a:rPr kumimoji="0" lang="en-US" sz="1100" b="1" i="0" u="none" strike="noStrike" kern="0" cap="none" spc="0" normalizeH="0" baseline="3000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3</a:t>
              </a:r>
              <a:b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</a:b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Fill-In</a:t>
              </a:r>
              <a:endPara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Montserrat Light"/>
                <a:sym typeface="Montserrat Light"/>
              </a:endParaRPr>
            </a:p>
          </p:txBody>
        </p:sp>
        <p:grpSp>
          <p:nvGrpSpPr>
            <p:cNvPr id="120" name="Google Shape;271;p20">
              <a:extLst>
                <a:ext uri="{FF2B5EF4-FFF2-40B4-BE49-F238E27FC236}">
                  <a16:creationId xmlns:a16="http://schemas.microsoft.com/office/drawing/2014/main" id="{80662D7D-9DAE-0DF7-23E4-CF5D55CDC24B}"/>
                </a:ext>
              </a:extLst>
            </p:cNvPr>
            <p:cNvGrpSpPr/>
            <p:nvPr/>
          </p:nvGrpSpPr>
          <p:grpSpPr>
            <a:xfrm>
              <a:off x="6501504" y="470715"/>
              <a:ext cx="608532" cy="488769"/>
              <a:chOff x="11244985" y="238371"/>
              <a:chExt cx="896990" cy="611042"/>
            </a:xfrm>
          </p:grpSpPr>
          <p:pic>
            <p:nvPicPr>
              <p:cNvPr id="121" name="Google Shape;272;p20" descr="User outline">
                <a:extLst>
                  <a:ext uri="{FF2B5EF4-FFF2-40B4-BE49-F238E27FC236}">
                    <a16:creationId xmlns:a16="http://schemas.microsoft.com/office/drawing/2014/main" id="{93B74E77-BB81-4BA9-B9DA-BC97CAEAFE4C}"/>
                  </a:ext>
                </a:extLst>
              </p:cNvPr>
              <p:cNvPicPr preferRelativeResize="0"/>
              <p:nvPr/>
            </p:nvPicPr>
            <p:blipFill rotWithShape="1">
              <a:blip r:embed="rId12">
                <a:alphaModFix/>
              </a:blip>
              <a:srcRect/>
              <a:stretch/>
            </p:blipFill>
            <p:spPr>
              <a:xfrm>
                <a:off x="11494035" y="311642"/>
                <a:ext cx="389382" cy="389382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22" name="Google Shape;273;p20" descr="Smart Phone outline">
                <a:extLst>
                  <a:ext uri="{FF2B5EF4-FFF2-40B4-BE49-F238E27FC236}">
                    <a16:creationId xmlns:a16="http://schemas.microsoft.com/office/drawing/2014/main" id="{0AAF604C-BA6C-F65E-1E95-326BF72E4A8D}"/>
                  </a:ext>
                </a:extLst>
              </p:cNvPr>
              <p:cNvPicPr preferRelativeResize="0"/>
              <p:nvPr/>
            </p:nvPicPr>
            <p:blipFill rotWithShape="1">
              <a:blip r:embed="rId10">
                <a:alphaModFix/>
              </a:blip>
              <a:srcRect/>
              <a:stretch/>
            </p:blipFill>
            <p:spPr>
              <a:xfrm>
                <a:off x="11244985" y="238371"/>
                <a:ext cx="896990" cy="611042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6563D7D6-0082-F996-8FED-05E08ED902FF}"/>
              </a:ext>
            </a:extLst>
          </p:cNvPr>
          <p:cNvGrpSpPr/>
          <p:nvPr/>
        </p:nvGrpSpPr>
        <p:grpSpPr>
          <a:xfrm>
            <a:off x="1906494" y="2413823"/>
            <a:ext cx="914400" cy="794845"/>
            <a:chOff x="2334288" y="2296448"/>
            <a:chExt cx="914400" cy="794845"/>
          </a:xfrm>
        </p:grpSpPr>
        <p:sp>
          <p:nvSpPr>
            <p:cNvPr id="14" name="Google Shape;245;p20">
              <a:extLst>
                <a:ext uri="{FF2B5EF4-FFF2-40B4-BE49-F238E27FC236}">
                  <a16:creationId xmlns:a16="http://schemas.microsoft.com/office/drawing/2014/main" id="{B202C73F-0560-8850-AE55-03EB5C1A8B2A}"/>
                </a:ext>
              </a:extLst>
            </p:cNvPr>
            <p:cNvSpPr txBox="1"/>
            <p:nvPr/>
          </p:nvSpPr>
          <p:spPr>
            <a:xfrm>
              <a:off x="2334288" y="2742393"/>
              <a:ext cx="914400" cy="348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Montserrat Light"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OTP</a:t>
              </a:r>
              <a:r>
                <a:rPr kumimoji="0" lang="en-US" sz="1100" b="1" i="0" u="none" strike="noStrike" kern="0" cap="none" spc="0" normalizeH="0" baseline="3000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1</a:t>
              </a: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 (SMS)</a:t>
              </a:r>
              <a:b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</a:b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Validation</a:t>
              </a:r>
              <a:endPara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Montserrat Light"/>
                <a:sym typeface="Montserrat Light"/>
              </a:endParaRPr>
            </a:p>
          </p:txBody>
        </p:sp>
        <p:pic>
          <p:nvPicPr>
            <p:cNvPr id="18" name="Google Shape;249;p20" descr="Shield Tick outline">
              <a:extLst>
                <a:ext uri="{FF2B5EF4-FFF2-40B4-BE49-F238E27FC236}">
                  <a16:creationId xmlns:a16="http://schemas.microsoft.com/office/drawing/2014/main" id="{94E572D5-4485-1C21-39B2-1E5DBA83629C}"/>
                </a:ext>
              </a:extLst>
            </p:cNvPr>
            <p:cNvPicPr preferRelativeResize="0"/>
            <p:nvPr/>
          </p:nvPicPr>
          <p:blipFill rotWithShape="1">
            <a:blip r:embed="rId16">
              <a:alphaModFix/>
            </a:blip>
            <a:srcRect/>
            <a:stretch/>
          </p:blipFill>
          <p:spPr>
            <a:xfrm>
              <a:off x="2556415" y="2296448"/>
              <a:ext cx="450110" cy="450110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76A7351B-81F9-27AD-3382-27C898C7E002}"/>
              </a:ext>
            </a:extLst>
          </p:cNvPr>
          <p:cNvGrpSpPr/>
          <p:nvPr/>
        </p:nvGrpSpPr>
        <p:grpSpPr>
          <a:xfrm>
            <a:off x="762901" y="2392726"/>
            <a:ext cx="914400" cy="852156"/>
            <a:chOff x="1343818" y="2253317"/>
            <a:chExt cx="914400" cy="852156"/>
          </a:xfrm>
        </p:grpSpPr>
        <p:sp>
          <p:nvSpPr>
            <p:cNvPr id="8" name="Google Shape;239;p20">
              <a:extLst>
                <a:ext uri="{FF2B5EF4-FFF2-40B4-BE49-F238E27FC236}">
                  <a16:creationId xmlns:a16="http://schemas.microsoft.com/office/drawing/2014/main" id="{B9CD539F-6AD7-A79C-918F-E0E5A09E19FB}"/>
                </a:ext>
              </a:extLst>
            </p:cNvPr>
            <p:cNvSpPr txBox="1"/>
            <p:nvPr/>
          </p:nvSpPr>
          <p:spPr>
            <a:xfrm>
              <a:off x="1343818" y="2756573"/>
              <a:ext cx="914400" cy="348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Montserrat Light"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Number</a:t>
              </a:r>
              <a:b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</a:b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Verification</a:t>
              </a:r>
              <a:endPara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Montserrat Light"/>
                <a:sym typeface="Montserrat Light"/>
              </a:endParaRPr>
            </a:p>
          </p:txBody>
        </p:sp>
        <p:pic>
          <p:nvPicPr>
            <p:cNvPr id="20" name="Google Shape;251;p20">
              <a:extLst>
                <a:ext uri="{FF2B5EF4-FFF2-40B4-BE49-F238E27FC236}">
                  <a16:creationId xmlns:a16="http://schemas.microsoft.com/office/drawing/2014/main" id="{D954D1F6-DF4F-E168-0511-17E0D439D146}"/>
                </a:ext>
              </a:extLst>
            </p:cNvPr>
            <p:cNvPicPr preferRelativeResize="0"/>
            <p:nvPr/>
          </p:nvPicPr>
          <p:blipFill rotWithShape="1">
            <a:blip r:embed="rId17">
              <a:alphaModFix/>
            </a:blip>
            <a:srcRect/>
            <a:stretch/>
          </p:blipFill>
          <p:spPr>
            <a:xfrm>
              <a:off x="1517892" y="2253317"/>
              <a:ext cx="450110" cy="433435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113897012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429E12-F9A1-6EE2-3522-E2CE4585FE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" name="think-cell data - do not delete" hidden="1">
            <a:extLst>
              <a:ext uri="{FF2B5EF4-FFF2-40B4-BE49-F238E27FC236}">
                <a16:creationId xmlns:a16="http://schemas.microsoft.com/office/drawing/2014/main" id="{A1162339-D875-1371-6C50-CD3F3E8A1E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29805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2" imgH="533" progId="TCLayout.ActiveDocument.1">
                  <p:embed/>
                </p:oleObj>
              </mc:Choice>
              <mc:Fallback>
                <p:oleObj name="think-cell Folie" r:id="rId4" imgW="532" imgH="533" progId="TCLayout.ActiveDocument.1">
                  <p:embed/>
                  <p:pic>
                    <p:nvPicPr>
                      <p:cNvPr id="7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1162339-D875-1371-6C50-CD3F3E8A1E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0DF0F72-5B59-5E6E-F524-3329BDF0BF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Beyond Fall24 Meta-release </a:t>
            </a:r>
            <a:br>
              <a:rPr lang="en-US" dirty="0"/>
            </a:br>
            <a:r>
              <a:rPr lang="en-US" dirty="0"/>
              <a:t>– Upcoming APIs</a:t>
            </a:r>
          </a:p>
        </p:txBody>
      </p:sp>
      <p:sp>
        <p:nvSpPr>
          <p:cNvPr id="4" name="Google Shape;235;p20">
            <a:extLst>
              <a:ext uri="{FF2B5EF4-FFF2-40B4-BE49-F238E27FC236}">
                <a16:creationId xmlns:a16="http://schemas.microsoft.com/office/drawing/2014/main" id="{F51E616F-C90B-DC1F-1A77-C9C879920162}"/>
              </a:ext>
            </a:extLst>
          </p:cNvPr>
          <p:cNvSpPr/>
          <p:nvPr/>
        </p:nvSpPr>
        <p:spPr>
          <a:xfrm>
            <a:off x="184972" y="1775206"/>
            <a:ext cx="11116302" cy="4225543"/>
          </a:xfrm>
          <a:prstGeom prst="roundRect">
            <a:avLst>
              <a:gd name="adj" fmla="val 5074"/>
            </a:avLst>
          </a:prstGeom>
          <a:noFill/>
          <a:ln w="127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72000" tIns="0" rIns="72000" bIns="7200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Montserrat Light"/>
              <a:buNone/>
              <a:tabLst/>
              <a:defRPr/>
            </a:pPr>
            <a:r>
              <a:rPr lang="en-US" sz="1600" kern="0" dirty="0">
                <a:solidFill>
                  <a:srgbClr val="000000"/>
                </a:solidFill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Upcoming APIs</a:t>
            </a:r>
            <a:endParaRPr kumimoji="0" lang="en-US" sz="1600" b="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 Light" panose="00000400000000000000" pitchFamily="2" charset="0"/>
              <a:ea typeface="Montserrat Light"/>
              <a:cs typeface="Montserrat Light"/>
              <a:sym typeface="Montserrat Light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Montserrat Light"/>
              <a:buNone/>
              <a:tabLst/>
              <a:defRPr/>
            </a:pPr>
            <a:r>
              <a:rPr kumimoji="0" lang="en-US" sz="14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Work in progress or newly started</a:t>
            </a:r>
            <a:endParaRPr kumimoji="0" lang="en-US" sz="1400" b="0" i="0" u="none" strike="noStrike" kern="0" cap="none" spc="0" normalizeH="0" baseline="3000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 Light" panose="00000400000000000000" pitchFamily="2" charset="0"/>
              <a:cs typeface="Montserrat Light"/>
              <a:sym typeface="Montserrat Light"/>
            </a:endParaRPr>
          </a:p>
        </p:txBody>
      </p:sp>
      <p:sp>
        <p:nvSpPr>
          <p:cNvPr id="24" name="Google Shape;274;p20">
            <a:extLst>
              <a:ext uri="{FF2B5EF4-FFF2-40B4-BE49-F238E27FC236}">
                <a16:creationId xmlns:a16="http://schemas.microsoft.com/office/drawing/2014/main" id="{A6C918B5-E1A4-22DA-CD3C-FC756BE33183}"/>
              </a:ext>
            </a:extLst>
          </p:cNvPr>
          <p:cNvSpPr txBox="1"/>
          <p:nvPr/>
        </p:nvSpPr>
        <p:spPr>
          <a:xfrm>
            <a:off x="7783741" y="6231138"/>
            <a:ext cx="3354091" cy="253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Montserrat Light"/>
              <a:buNone/>
              <a:tabLst/>
              <a:defRPr/>
            </a:pPr>
            <a:r>
              <a:rPr kumimoji="0" lang="en-US" sz="8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cs typeface="Montserrat Light"/>
                <a:sym typeface="Montserrat Light"/>
              </a:rPr>
              <a:t>1</a:t>
            </a:r>
            <a:r>
              <a:rPr kumimoji="0" lang="en-US" sz="8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 KYC = Know Your Customer       2 BYON = Bring your own number</a:t>
            </a:r>
            <a:endParaRPr kumimoji="0" lang="en-US" sz="800" b="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 Light" panose="00000400000000000000" pitchFamily="2" charset="0"/>
              <a:cs typeface="Montserrat Light"/>
              <a:sym typeface="Montserrat Light"/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51FABDD1-2950-1638-FC5B-8DA22A19E12E}"/>
              </a:ext>
            </a:extLst>
          </p:cNvPr>
          <p:cNvGrpSpPr/>
          <p:nvPr/>
        </p:nvGrpSpPr>
        <p:grpSpPr>
          <a:xfrm>
            <a:off x="1359377" y="3502545"/>
            <a:ext cx="8803321" cy="338062"/>
            <a:chOff x="1079063" y="3408742"/>
            <a:chExt cx="8803321" cy="338062"/>
          </a:xfrm>
        </p:grpSpPr>
        <p:sp>
          <p:nvSpPr>
            <p:cNvPr id="5" name="Google Shape;277;p20">
              <a:extLst>
                <a:ext uri="{FF2B5EF4-FFF2-40B4-BE49-F238E27FC236}">
                  <a16:creationId xmlns:a16="http://schemas.microsoft.com/office/drawing/2014/main" id="{57F780D8-2DDF-D4F7-B21B-B75E1C747730}"/>
                </a:ext>
              </a:extLst>
            </p:cNvPr>
            <p:cNvSpPr txBox="1"/>
            <p:nvPr/>
          </p:nvSpPr>
          <p:spPr>
            <a:xfrm>
              <a:off x="1079063" y="3408742"/>
              <a:ext cx="864156" cy="32974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algn="ctr" defTabSz="864199">
                <a:buClr>
                  <a:srgbClr val="000000"/>
                </a:buClr>
                <a:defRPr/>
              </a:pP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Device</a:t>
              </a:r>
              <a:b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Identifier</a:t>
              </a:r>
              <a:endParaRPr sz="1323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7" name="Google Shape;279;p20">
              <a:extLst>
                <a:ext uri="{FF2B5EF4-FFF2-40B4-BE49-F238E27FC236}">
                  <a16:creationId xmlns:a16="http://schemas.microsoft.com/office/drawing/2014/main" id="{0A68610D-5880-8BDB-49C8-05437B586E1B}"/>
                </a:ext>
              </a:extLst>
            </p:cNvPr>
            <p:cNvSpPr txBox="1"/>
            <p:nvPr/>
          </p:nvSpPr>
          <p:spPr>
            <a:xfrm>
              <a:off x="4732228" y="3408743"/>
              <a:ext cx="864156" cy="32974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algn="ctr" defTabSz="864199">
                <a:buClr>
                  <a:srgbClr val="000000"/>
                </a:buClr>
                <a:defRPr/>
              </a:pP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Device </a:t>
              </a:r>
              <a:b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Swap</a:t>
              </a:r>
              <a:endParaRPr sz="1323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2" name="Google Shape;290;p20">
              <a:extLst>
                <a:ext uri="{FF2B5EF4-FFF2-40B4-BE49-F238E27FC236}">
                  <a16:creationId xmlns:a16="http://schemas.microsoft.com/office/drawing/2014/main" id="{AF5160B2-5B9D-B173-B58B-1A385A5C7D4E}"/>
                </a:ext>
              </a:extLst>
            </p:cNvPr>
            <p:cNvSpPr txBox="1"/>
            <p:nvPr/>
          </p:nvSpPr>
          <p:spPr>
            <a:xfrm>
              <a:off x="6067898" y="3413875"/>
              <a:ext cx="1590739" cy="32972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algn="ctr" defTabSz="864199">
                <a:buClr>
                  <a:srgbClr val="000000"/>
                </a:buClr>
                <a:defRPr/>
              </a:pP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Edge Application Management </a:t>
              </a:r>
              <a:r>
                <a:rPr lang="en-US" sz="1040" kern="0" dirty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(Edge Cloud)</a:t>
              </a:r>
              <a:endParaRPr sz="1323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7" name="Google Shape;295;p20">
              <a:extLst>
                <a:ext uri="{FF2B5EF4-FFF2-40B4-BE49-F238E27FC236}">
                  <a16:creationId xmlns:a16="http://schemas.microsoft.com/office/drawing/2014/main" id="{4BB16811-A0B6-4096-5688-7E9DDE41201D}"/>
                </a:ext>
              </a:extLst>
            </p:cNvPr>
            <p:cNvSpPr txBox="1"/>
            <p:nvPr/>
          </p:nvSpPr>
          <p:spPr>
            <a:xfrm>
              <a:off x="2414733" y="3411096"/>
              <a:ext cx="1845981" cy="32972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algn="ctr" defTabSz="864199">
                <a:buClr>
                  <a:srgbClr val="000000"/>
                </a:buClr>
                <a:defRPr/>
              </a:pP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Device Quality Indicator</a:t>
              </a:r>
            </a:p>
            <a:p>
              <a:pPr algn="ctr" defTabSz="864199">
                <a:buClr>
                  <a:srgbClr val="000000"/>
                </a:buClr>
                <a:defRPr/>
              </a:pPr>
              <a:r>
                <a:rPr lang="en-US" sz="1040" kern="0" dirty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(Device Status)</a:t>
              </a:r>
              <a:endParaRPr sz="1323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1" name="Google Shape;300;p20">
              <a:extLst>
                <a:ext uri="{FF2B5EF4-FFF2-40B4-BE49-F238E27FC236}">
                  <a16:creationId xmlns:a16="http://schemas.microsoft.com/office/drawing/2014/main" id="{0F220F5E-754E-7BAE-58B0-EE468600C53B}"/>
                </a:ext>
              </a:extLst>
            </p:cNvPr>
            <p:cNvSpPr txBox="1"/>
            <p:nvPr/>
          </p:nvSpPr>
          <p:spPr>
            <a:xfrm>
              <a:off x="8130152" y="3417075"/>
              <a:ext cx="1752232" cy="32972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algn="ctr" defTabSz="864199">
                <a:buClr>
                  <a:srgbClr val="000000"/>
                </a:buClr>
                <a:defRPr/>
              </a:pP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Network Access Management (Home Devices)</a:t>
              </a:r>
              <a:endParaRPr sz="1323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10AD4E76-EDA0-C88E-2188-0D235D46D57D}"/>
              </a:ext>
            </a:extLst>
          </p:cNvPr>
          <p:cNvGrpSpPr/>
          <p:nvPr/>
        </p:nvGrpSpPr>
        <p:grpSpPr>
          <a:xfrm>
            <a:off x="1722846" y="4355745"/>
            <a:ext cx="8076383" cy="332316"/>
            <a:chOff x="1551281" y="4274991"/>
            <a:chExt cx="8076383" cy="332316"/>
          </a:xfrm>
        </p:grpSpPr>
        <p:sp>
          <p:nvSpPr>
            <p:cNvPr id="10" name="Google Shape;283;p20">
              <a:extLst>
                <a:ext uri="{FF2B5EF4-FFF2-40B4-BE49-F238E27FC236}">
                  <a16:creationId xmlns:a16="http://schemas.microsoft.com/office/drawing/2014/main" id="{9DF7ACDA-6699-1C6D-CB86-509AC2179C66}"/>
                </a:ext>
              </a:extLst>
            </p:cNvPr>
            <p:cNvSpPr txBox="1"/>
            <p:nvPr/>
          </p:nvSpPr>
          <p:spPr>
            <a:xfrm>
              <a:off x="8635076" y="4277579"/>
              <a:ext cx="992588" cy="32972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algn="ctr" defTabSz="864199">
                <a:buClr>
                  <a:srgbClr val="000000"/>
                </a:buClr>
                <a:defRPr/>
              </a:pP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Short Message </a:t>
              </a:r>
              <a:b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Service</a:t>
              </a:r>
              <a:endParaRPr sz="1323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3" name="Google Shape;291;p20">
              <a:extLst>
                <a:ext uri="{FF2B5EF4-FFF2-40B4-BE49-F238E27FC236}">
                  <a16:creationId xmlns:a16="http://schemas.microsoft.com/office/drawing/2014/main" id="{312669FE-4F9B-9425-993D-C24386016F03}"/>
                </a:ext>
              </a:extLst>
            </p:cNvPr>
            <p:cNvSpPr txBox="1"/>
            <p:nvPr/>
          </p:nvSpPr>
          <p:spPr>
            <a:xfrm>
              <a:off x="1551281" y="4274991"/>
              <a:ext cx="870960" cy="32972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algn="ctr" defTabSz="864199">
                <a:buClr>
                  <a:srgbClr val="000000"/>
                </a:buClr>
                <a:defRPr/>
              </a:pP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Network Slice</a:t>
              </a:r>
              <a:b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Booking</a:t>
              </a:r>
              <a:endParaRPr sz="1323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" name="Google Shape;292;p20">
              <a:extLst>
                <a:ext uri="{FF2B5EF4-FFF2-40B4-BE49-F238E27FC236}">
                  <a16:creationId xmlns:a16="http://schemas.microsoft.com/office/drawing/2014/main" id="{C9F6B07C-98B2-F5C4-ADF8-B6569AE00C2D}"/>
                </a:ext>
              </a:extLst>
            </p:cNvPr>
            <p:cNvSpPr txBox="1"/>
            <p:nvPr/>
          </p:nvSpPr>
          <p:spPr>
            <a:xfrm>
              <a:off x="7136293" y="4274991"/>
              <a:ext cx="870960" cy="32972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algn="ctr" defTabSz="864199">
                <a:buClr>
                  <a:srgbClr val="000000"/>
                </a:buClr>
                <a:defRPr/>
              </a:pP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Region </a:t>
              </a:r>
              <a:b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Device Count</a:t>
              </a:r>
              <a:endParaRPr sz="1323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0" name="Google Shape;299;p20">
              <a:extLst>
                <a:ext uri="{FF2B5EF4-FFF2-40B4-BE49-F238E27FC236}">
                  <a16:creationId xmlns:a16="http://schemas.microsoft.com/office/drawing/2014/main" id="{8FB60EA2-F509-7287-AA6A-3A70792029AF}"/>
                </a:ext>
              </a:extLst>
            </p:cNvPr>
            <p:cNvSpPr txBox="1"/>
            <p:nvPr/>
          </p:nvSpPr>
          <p:spPr>
            <a:xfrm>
              <a:off x="4841045" y="4274991"/>
              <a:ext cx="1667425" cy="32972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algn="ctr" defTabSz="864199">
                <a:buClr>
                  <a:srgbClr val="000000"/>
                </a:buClr>
                <a:defRPr/>
              </a:pP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Most Frequent Location (Location Insights)</a:t>
              </a:r>
              <a:endParaRPr sz="1323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7" name="Google Shape;296;p20">
              <a:extLst>
                <a:ext uri="{FF2B5EF4-FFF2-40B4-BE49-F238E27FC236}">
                  <a16:creationId xmlns:a16="http://schemas.microsoft.com/office/drawing/2014/main" id="{708BA294-AFDB-9F27-9EBF-98AA9B47DD8B}"/>
                </a:ext>
              </a:extLst>
            </p:cNvPr>
            <p:cNvSpPr txBox="1"/>
            <p:nvPr/>
          </p:nvSpPr>
          <p:spPr>
            <a:xfrm>
              <a:off x="3050064" y="4274991"/>
              <a:ext cx="1163158" cy="32972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algn="ctr" defTabSz="864199">
                <a:buClr>
                  <a:srgbClr val="000000"/>
                </a:buClr>
                <a:defRPr/>
              </a:pP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Number Recycling (KYC</a:t>
              </a:r>
              <a:r>
                <a:rPr lang="en-US" sz="1040" kern="0" baseline="3000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1</a:t>
              </a: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)</a:t>
              </a:r>
              <a:endParaRPr lang="en-US" sz="1040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  <a:p>
              <a:pPr algn="ctr" defTabSz="864199">
                <a:buClr>
                  <a:srgbClr val="000000"/>
                </a:buClr>
                <a:defRPr/>
              </a:pP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 </a:t>
              </a:r>
              <a:endParaRPr sz="1323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FABCEED8-3D84-B038-A263-370F170A1E38}"/>
              </a:ext>
            </a:extLst>
          </p:cNvPr>
          <p:cNvGrpSpPr/>
          <p:nvPr/>
        </p:nvGrpSpPr>
        <p:grpSpPr>
          <a:xfrm>
            <a:off x="1231262" y="5203199"/>
            <a:ext cx="9059550" cy="368132"/>
            <a:chOff x="1115801" y="4921841"/>
            <a:chExt cx="9059550" cy="368132"/>
          </a:xfrm>
        </p:grpSpPr>
        <p:sp>
          <p:nvSpPr>
            <p:cNvPr id="8" name="Google Shape;280;p20">
              <a:extLst>
                <a:ext uri="{FF2B5EF4-FFF2-40B4-BE49-F238E27FC236}">
                  <a16:creationId xmlns:a16="http://schemas.microsoft.com/office/drawing/2014/main" id="{5C533B9F-C0AE-F069-3C60-C6F7E739BD04}"/>
                </a:ext>
              </a:extLst>
            </p:cNvPr>
            <p:cNvSpPr txBox="1"/>
            <p:nvPr/>
          </p:nvSpPr>
          <p:spPr>
            <a:xfrm>
              <a:off x="6041274" y="4960245"/>
              <a:ext cx="1100608" cy="32972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algn="ctr" defTabSz="864199">
                <a:buClr>
                  <a:srgbClr val="000000"/>
                </a:buClr>
                <a:defRPr/>
              </a:pP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Traffic Influence (Edge Cloud)</a:t>
              </a:r>
              <a:endParaRPr sz="1323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1" name="Google Shape;284;p20">
              <a:extLst>
                <a:ext uri="{FF2B5EF4-FFF2-40B4-BE49-F238E27FC236}">
                  <a16:creationId xmlns:a16="http://schemas.microsoft.com/office/drawing/2014/main" id="{7CCE6525-1261-811C-D9AE-C583181DF359}"/>
                </a:ext>
              </a:extLst>
            </p:cNvPr>
            <p:cNvSpPr txBox="1"/>
            <p:nvPr/>
          </p:nvSpPr>
          <p:spPr>
            <a:xfrm>
              <a:off x="9311195" y="4921841"/>
              <a:ext cx="864156" cy="32974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algn="ctr" defTabSz="864199">
                <a:buClr>
                  <a:srgbClr val="000000"/>
                </a:buClr>
                <a:defRPr/>
              </a:pP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WebRTC – BYON</a:t>
              </a:r>
              <a:r>
                <a:rPr lang="en-US" sz="1040" kern="0" baseline="3000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2</a:t>
              </a:r>
              <a:endParaRPr sz="1323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5" name="Google Shape;293;p20">
              <a:extLst>
                <a:ext uri="{FF2B5EF4-FFF2-40B4-BE49-F238E27FC236}">
                  <a16:creationId xmlns:a16="http://schemas.microsoft.com/office/drawing/2014/main" id="{0A433D0C-108D-AEB5-1105-BA0225E9AFF6}"/>
                </a:ext>
              </a:extLst>
            </p:cNvPr>
            <p:cNvSpPr txBox="1"/>
            <p:nvPr/>
          </p:nvSpPr>
          <p:spPr>
            <a:xfrm>
              <a:off x="1115801" y="4930811"/>
              <a:ext cx="870960" cy="32972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algn="ctr" defTabSz="864199">
                <a:buClr>
                  <a:srgbClr val="000000"/>
                </a:buClr>
                <a:defRPr/>
              </a:pP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Site to Cloud</a:t>
              </a:r>
              <a:b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VPN</a:t>
              </a:r>
              <a:endParaRPr sz="1323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5" name="Google Shape;296;p20">
              <a:extLst>
                <a:ext uri="{FF2B5EF4-FFF2-40B4-BE49-F238E27FC236}">
                  <a16:creationId xmlns:a16="http://schemas.microsoft.com/office/drawing/2014/main" id="{8B4CC79D-EEE2-EFFA-2EBE-E71F5142A245}"/>
                </a:ext>
              </a:extLst>
            </p:cNvPr>
            <p:cNvSpPr txBox="1"/>
            <p:nvPr/>
          </p:nvSpPr>
          <p:spPr>
            <a:xfrm>
              <a:off x="4448273" y="4944668"/>
              <a:ext cx="943824" cy="32972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algn="ctr" defTabSz="864199">
                <a:buClr>
                  <a:srgbClr val="000000"/>
                </a:buClr>
                <a:defRPr/>
              </a:pP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Tenure</a:t>
              </a:r>
            </a:p>
            <a:p>
              <a:pPr algn="ctr" defTabSz="864199">
                <a:buClr>
                  <a:srgbClr val="000000"/>
                </a:buClr>
                <a:defRPr/>
              </a:pP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(KYC</a:t>
              </a:r>
              <a:r>
                <a:rPr lang="en-US" sz="1040" kern="0" baseline="3000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1</a:t>
              </a: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)</a:t>
              </a:r>
              <a:endParaRPr lang="en-US" sz="1040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" name="Google Shape;296;p20">
              <a:extLst>
                <a:ext uri="{FF2B5EF4-FFF2-40B4-BE49-F238E27FC236}">
                  <a16:creationId xmlns:a16="http://schemas.microsoft.com/office/drawing/2014/main" id="{05812412-F58E-DAEB-15A1-3B2A14E4ED1C}"/>
                </a:ext>
              </a:extLst>
            </p:cNvPr>
            <p:cNvSpPr txBox="1"/>
            <p:nvPr/>
          </p:nvSpPr>
          <p:spPr>
            <a:xfrm>
              <a:off x="2635938" y="4930811"/>
              <a:ext cx="1163158" cy="32972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algn="ctr" defTabSz="864199">
                <a:buClr>
                  <a:srgbClr val="000000"/>
                </a:buClr>
                <a:defRPr/>
              </a:pP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Subscription Status</a:t>
              </a:r>
            </a:p>
            <a:p>
              <a:pPr algn="ctr" defTabSz="864199">
                <a:buClr>
                  <a:srgbClr val="000000"/>
                </a:buClr>
                <a:defRPr/>
              </a:pP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(KYC</a:t>
              </a:r>
              <a:r>
                <a:rPr lang="en-US" sz="1040" kern="0" baseline="3000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1</a:t>
              </a: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) </a:t>
              </a:r>
              <a:endParaRPr sz="1323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8" name="Google Shape;291;p20">
              <a:extLst>
                <a:ext uri="{FF2B5EF4-FFF2-40B4-BE49-F238E27FC236}">
                  <a16:creationId xmlns:a16="http://schemas.microsoft.com/office/drawing/2014/main" id="{11C1508D-E304-4268-F83E-AC415CCC0A42}"/>
                </a:ext>
              </a:extLst>
            </p:cNvPr>
            <p:cNvSpPr txBox="1"/>
            <p:nvPr/>
          </p:nvSpPr>
          <p:spPr>
            <a:xfrm>
              <a:off x="7791059" y="4921855"/>
              <a:ext cx="870960" cy="32972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algn="ctr" defTabSz="864199">
                <a:buClr>
                  <a:srgbClr val="000000"/>
                </a:buClr>
                <a:defRPr/>
              </a:pP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Verified </a:t>
              </a:r>
              <a:b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Caller</a:t>
              </a:r>
              <a:endParaRPr sz="1323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6CF570E9-F911-7C8B-4BBC-BF9DC43A9B1F}"/>
              </a:ext>
            </a:extLst>
          </p:cNvPr>
          <p:cNvGrpSpPr/>
          <p:nvPr/>
        </p:nvGrpSpPr>
        <p:grpSpPr>
          <a:xfrm>
            <a:off x="1665902" y="2643389"/>
            <a:ext cx="8190270" cy="344018"/>
            <a:chOff x="1692114" y="2622448"/>
            <a:chExt cx="8190270" cy="344018"/>
          </a:xfrm>
        </p:grpSpPr>
        <p:sp>
          <p:nvSpPr>
            <p:cNvPr id="3" name="Google Shape;276;p20">
              <a:extLst>
                <a:ext uri="{FF2B5EF4-FFF2-40B4-BE49-F238E27FC236}">
                  <a16:creationId xmlns:a16="http://schemas.microsoft.com/office/drawing/2014/main" id="{230B028F-920F-D0B7-C814-5F925BBC85BA}"/>
                </a:ext>
              </a:extLst>
            </p:cNvPr>
            <p:cNvSpPr txBox="1"/>
            <p:nvPr/>
          </p:nvSpPr>
          <p:spPr>
            <a:xfrm>
              <a:off x="6876401" y="2627498"/>
              <a:ext cx="864156" cy="32974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algn="ctr" defTabSz="864199">
                <a:buClr>
                  <a:srgbClr val="000000"/>
                </a:buClr>
                <a:defRPr/>
              </a:pP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Click To </a:t>
              </a:r>
              <a:b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Dial</a:t>
              </a:r>
              <a:endParaRPr sz="1323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6" name="Google Shape;278;p20">
              <a:extLst>
                <a:ext uri="{FF2B5EF4-FFF2-40B4-BE49-F238E27FC236}">
                  <a16:creationId xmlns:a16="http://schemas.microsoft.com/office/drawing/2014/main" id="{6C2ECAFE-69C9-EE74-B3DD-EBC71718C23F}"/>
                </a:ext>
              </a:extLst>
            </p:cNvPr>
            <p:cNvSpPr txBox="1"/>
            <p:nvPr/>
          </p:nvSpPr>
          <p:spPr>
            <a:xfrm>
              <a:off x="5224706" y="2636738"/>
              <a:ext cx="1100608" cy="32972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algn="ctr" defTabSz="864199">
                <a:buClr>
                  <a:srgbClr val="000000"/>
                </a:buClr>
                <a:defRPr/>
              </a:pP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Blockchain </a:t>
              </a:r>
              <a:b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Public Address</a:t>
              </a:r>
              <a:endParaRPr sz="1323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8" name="Google Shape;296;p20">
              <a:extLst>
                <a:ext uri="{FF2B5EF4-FFF2-40B4-BE49-F238E27FC236}">
                  <a16:creationId xmlns:a16="http://schemas.microsoft.com/office/drawing/2014/main" id="{B7C298FF-5B39-3758-E29E-F7066ACD3D27}"/>
                </a:ext>
              </a:extLst>
            </p:cNvPr>
            <p:cNvSpPr txBox="1"/>
            <p:nvPr/>
          </p:nvSpPr>
          <p:spPr>
            <a:xfrm>
              <a:off x="1692114" y="2625116"/>
              <a:ext cx="943824" cy="32972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algn="ctr" defTabSz="864199">
                <a:buClr>
                  <a:srgbClr val="000000"/>
                </a:buClr>
                <a:defRPr/>
              </a:pP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Age Verification (KYC</a:t>
              </a:r>
              <a:r>
                <a:rPr lang="en-US" sz="1040" kern="0" baseline="3000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1</a:t>
              </a: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)</a:t>
              </a:r>
              <a:endParaRPr sz="1323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2" name="Google Shape;295;p20">
              <a:extLst>
                <a:ext uri="{FF2B5EF4-FFF2-40B4-BE49-F238E27FC236}">
                  <a16:creationId xmlns:a16="http://schemas.microsoft.com/office/drawing/2014/main" id="{D27B4E34-529F-D43F-9FD2-79F0BA1C8DA7}"/>
                </a:ext>
              </a:extLst>
            </p:cNvPr>
            <p:cNvSpPr txBox="1"/>
            <p:nvPr/>
          </p:nvSpPr>
          <p:spPr>
            <a:xfrm>
              <a:off x="8291645" y="2622448"/>
              <a:ext cx="1590739" cy="32972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algn="ctr" defTabSz="864199">
                <a:buClr>
                  <a:srgbClr val="000000"/>
                </a:buClr>
                <a:defRPr/>
              </a:pP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Device Data Volume (Device Status)</a:t>
              </a:r>
              <a:endParaRPr sz="1323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9" name="Google Shape;290;p20">
              <a:extLst>
                <a:ext uri="{FF2B5EF4-FFF2-40B4-BE49-F238E27FC236}">
                  <a16:creationId xmlns:a16="http://schemas.microsoft.com/office/drawing/2014/main" id="{73446FB8-132E-774F-F8FD-57B3C0799E93}"/>
                </a:ext>
              </a:extLst>
            </p:cNvPr>
            <p:cNvSpPr txBox="1"/>
            <p:nvPr/>
          </p:nvSpPr>
          <p:spPr>
            <a:xfrm>
              <a:off x="3187025" y="2633828"/>
              <a:ext cx="1486594" cy="32972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algn="ctr" defTabSz="864199">
                <a:buClr>
                  <a:srgbClr val="000000"/>
                </a:buClr>
                <a:defRPr/>
              </a:pP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Application Endpoint Discovery </a:t>
              </a:r>
              <a:r>
                <a:rPr lang="en-US" sz="1040" kern="0" dirty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(Edge Cloud)</a:t>
              </a:r>
              <a:endParaRPr sz="1323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0181377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E3109A6-80FF-6045-D0BC-F6F71046551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DE" dirty="0"/>
              <a:t>Backup</a:t>
            </a:r>
          </a:p>
        </p:txBody>
      </p:sp>
    </p:spTree>
    <p:extLst>
      <p:ext uri="{BB962C8B-B14F-4D97-AF65-F5344CB8AC3E}">
        <p14:creationId xmlns:p14="http://schemas.microsoft.com/office/powerpoint/2010/main" val="217019377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429E12-F9A1-6EE2-3522-E2CE4585FE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" name="think-cell data - do not delete" hidden="1">
            <a:extLst>
              <a:ext uri="{FF2B5EF4-FFF2-40B4-BE49-F238E27FC236}">
                <a16:creationId xmlns:a16="http://schemas.microsoft.com/office/drawing/2014/main" id="{A1162339-D875-1371-6C50-CD3F3E8A1E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2" imgH="533" progId="TCLayout.ActiveDocument.1">
                  <p:embed/>
                </p:oleObj>
              </mc:Choice>
              <mc:Fallback>
                <p:oleObj name="think-cell Folie" r:id="rId4" imgW="532" imgH="533" progId="TCLayout.ActiveDocument.1">
                  <p:embed/>
                  <p:pic>
                    <p:nvPicPr>
                      <p:cNvPr id="7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1162339-D875-1371-6C50-CD3F3E8A1E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0DF0F72-5B59-5E6E-F524-3329BDF0BF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Meta-release Fall 2024</a:t>
            </a:r>
          </a:p>
        </p:txBody>
      </p:sp>
      <p:sp>
        <p:nvSpPr>
          <p:cNvPr id="4" name="Google Shape;235;p20">
            <a:extLst>
              <a:ext uri="{FF2B5EF4-FFF2-40B4-BE49-F238E27FC236}">
                <a16:creationId xmlns:a16="http://schemas.microsoft.com/office/drawing/2014/main" id="{F51E616F-C90B-DC1F-1A77-C9C879920162}"/>
              </a:ext>
            </a:extLst>
          </p:cNvPr>
          <p:cNvSpPr/>
          <p:nvPr/>
        </p:nvSpPr>
        <p:spPr>
          <a:xfrm>
            <a:off x="184972" y="1775206"/>
            <a:ext cx="4629332" cy="2549149"/>
          </a:xfrm>
          <a:prstGeom prst="roundRect">
            <a:avLst>
              <a:gd name="adj" fmla="val 5074"/>
            </a:avLst>
          </a:prstGeom>
          <a:noFill/>
          <a:ln w="127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72000" tIns="0" rIns="72000" bIns="7200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Montserrat Light"/>
              <a:buNone/>
              <a:tabLst/>
              <a:defRPr/>
            </a:pPr>
            <a:r>
              <a:rPr kumimoji="0" lang="en-US" sz="16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Stable CAMARA APIs (v1.0.0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Montserrat Light"/>
              <a:buNone/>
              <a:tabLst/>
              <a:defRPr/>
            </a:pPr>
            <a:r>
              <a:rPr kumimoji="0" lang="en-US" sz="14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Previous versions launched in at least one market</a:t>
            </a:r>
            <a:r>
              <a:rPr kumimoji="0" lang="en-US" sz="1400" b="0" i="0" u="none" strike="noStrike" kern="0" cap="none" spc="0" normalizeH="0" baseline="3000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1</a:t>
            </a:r>
            <a:endParaRPr kumimoji="0" lang="en-US" sz="1400" b="0" i="0" u="none" strike="noStrike" kern="0" cap="none" spc="0" normalizeH="0" baseline="3000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 Light" panose="00000400000000000000" pitchFamily="2" charset="0"/>
              <a:cs typeface="Montserrat Light"/>
              <a:sym typeface="Montserrat Light"/>
            </a:endParaRPr>
          </a:p>
        </p:txBody>
      </p:sp>
      <p:sp>
        <p:nvSpPr>
          <p:cNvPr id="5" name="Google Shape;236;p20">
            <a:extLst>
              <a:ext uri="{FF2B5EF4-FFF2-40B4-BE49-F238E27FC236}">
                <a16:creationId xmlns:a16="http://schemas.microsoft.com/office/drawing/2014/main" id="{6A60267B-553A-EF8D-5558-D14F4368F3A4}"/>
              </a:ext>
            </a:extLst>
          </p:cNvPr>
          <p:cNvSpPr/>
          <p:nvPr/>
        </p:nvSpPr>
        <p:spPr>
          <a:xfrm>
            <a:off x="184978" y="4439596"/>
            <a:ext cx="11155800" cy="793369"/>
          </a:xfrm>
          <a:prstGeom prst="roundRect">
            <a:avLst>
              <a:gd name="adj" fmla="val 16667"/>
            </a:avLst>
          </a:prstGeom>
          <a:solidFill>
            <a:schemeClr val="lt1"/>
          </a:solidFill>
          <a:ln w="127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72000" tIns="0" rIns="72000" bIns="7200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Montserrat Light"/>
              <a:buNone/>
              <a:tabLst/>
              <a:defRPr/>
            </a:pPr>
            <a:r>
              <a:rPr kumimoji="0" lang="en-US" sz="16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New initial APIs (v0.y.z)</a:t>
            </a:r>
            <a:endParaRPr kumimoji="0" lang="en-US" sz="1400" b="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 Light" panose="00000400000000000000" pitchFamily="2" charset="0"/>
              <a:cs typeface="Montserrat Light"/>
              <a:sym typeface="Montserrat Light"/>
            </a:endParaRPr>
          </a:p>
        </p:txBody>
      </p:sp>
      <p:sp>
        <p:nvSpPr>
          <p:cNvPr id="6" name="Google Shape;237;p20">
            <a:extLst>
              <a:ext uri="{FF2B5EF4-FFF2-40B4-BE49-F238E27FC236}">
                <a16:creationId xmlns:a16="http://schemas.microsoft.com/office/drawing/2014/main" id="{09B446DD-402E-8F07-4408-5F7F443541DF}"/>
              </a:ext>
            </a:extLst>
          </p:cNvPr>
          <p:cNvSpPr/>
          <p:nvPr/>
        </p:nvSpPr>
        <p:spPr>
          <a:xfrm>
            <a:off x="189253" y="5348205"/>
            <a:ext cx="11155800" cy="834431"/>
          </a:xfrm>
          <a:prstGeom prst="roundRect">
            <a:avLst>
              <a:gd name="adj" fmla="val 16667"/>
            </a:avLst>
          </a:prstGeom>
          <a:solidFill>
            <a:schemeClr val="lt1"/>
          </a:solidFill>
          <a:ln w="127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72000" tIns="0" rIns="72000" bIns="72000" anchor="t" anchorCtr="0">
            <a:noAutofit/>
          </a:bodyPr>
          <a:lstStyle/>
          <a:p>
            <a:pPr algn="ctr">
              <a:buClr>
                <a:srgbClr val="000000"/>
              </a:buClr>
              <a:buSzPts val="1600"/>
              <a:defRPr/>
            </a:pPr>
            <a:r>
              <a:rPr kumimoji="0" lang="en-US" sz="16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New initial APIs to subscribe for event notifications in CloudEvents format (v0.y.z)</a:t>
            </a:r>
            <a:endParaRPr kumimoji="0" lang="en-US" sz="1400" b="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 Light" panose="00000400000000000000" pitchFamily="2" charset="0"/>
              <a:cs typeface="Montserrat Light"/>
              <a:sym typeface="Montserrat Light"/>
            </a:endParaRPr>
          </a:p>
        </p:txBody>
      </p:sp>
      <p:grpSp>
        <p:nvGrpSpPr>
          <p:cNvPr id="88" name="Group 87">
            <a:extLst>
              <a:ext uri="{FF2B5EF4-FFF2-40B4-BE49-F238E27FC236}">
                <a16:creationId xmlns:a16="http://schemas.microsoft.com/office/drawing/2014/main" id="{D76215A7-83EE-8191-C664-D0F611E2601A}"/>
              </a:ext>
            </a:extLst>
          </p:cNvPr>
          <p:cNvGrpSpPr/>
          <p:nvPr/>
        </p:nvGrpSpPr>
        <p:grpSpPr>
          <a:xfrm>
            <a:off x="1329470" y="3455263"/>
            <a:ext cx="914400" cy="805480"/>
            <a:chOff x="353348" y="2296448"/>
            <a:chExt cx="914400" cy="805480"/>
          </a:xfrm>
        </p:grpSpPr>
        <p:sp>
          <p:nvSpPr>
            <p:cNvPr id="7" name="Google Shape;238;p20">
              <a:extLst>
                <a:ext uri="{FF2B5EF4-FFF2-40B4-BE49-F238E27FC236}">
                  <a16:creationId xmlns:a16="http://schemas.microsoft.com/office/drawing/2014/main" id="{192ADC79-28FE-F221-ACCB-C6A3F15D0CDA}"/>
                </a:ext>
              </a:extLst>
            </p:cNvPr>
            <p:cNvSpPr txBox="1"/>
            <p:nvPr/>
          </p:nvSpPr>
          <p:spPr>
            <a:xfrm>
              <a:off x="353348" y="2753028"/>
              <a:ext cx="914400" cy="348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Montserrat Light"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Sim </a:t>
              </a:r>
              <a:b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</a:b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Swap</a:t>
              </a:r>
              <a:endPara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Montserrat Light"/>
                <a:sym typeface="Montserrat Light"/>
              </a:endParaRPr>
            </a:p>
          </p:txBody>
        </p:sp>
        <p:pic>
          <p:nvPicPr>
            <p:cNvPr id="19" name="Google Shape;250;p20">
              <a:extLst>
                <a:ext uri="{FF2B5EF4-FFF2-40B4-BE49-F238E27FC236}">
                  <a16:creationId xmlns:a16="http://schemas.microsoft.com/office/drawing/2014/main" id="{853D8F11-357F-5D6F-DA6C-593BB91C10FA}"/>
                </a:ext>
              </a:extLst>
            </p:cNvPr>
            <p:cNvPicPr preferRelativeResize="0"/>
            <p:nvPr/>
          </p:nvPicPr>
          <p:blipFill rotWithShape="1">
            <a:blip r:embed="rId6">
              <a:alphaModFix/>
            </a:blip>
            <a:srcRect/>
            <a:stretch/>
          </p:blipFill>
          <p:spPr>
            <a:xfrm>
              <a:off x="589107" y="2296448"/>
              <a:ext cx="398439" cy="398439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90" name="Group 89">
            <a:extLst>
              <a:ext uri="{FF2B5EF4-FFF2-40B4-BE49-F238E27FC236}">
                <a16:creationId xmlns:a16="http://schemas.microsoft.com/office/drawing/2014/main" id="{67433AFD-C83D-3331-5AB9-95B263FF0F3B}"/>
              </a:ext>
            </a:extLst>
          </p:cNvPr>
          <p:cNvGrpSpPr/>
          <p:nvPr/>
        </p:nvGrpSpPr>
        <p:grpSpPr>
          <a:xfrm>
            <a:off x="2942069" y="2438050"/>
            <a:ext cx="1066500" cy="777328"/>
            <a:chOff x="3248677" y="2331692"/>
            <a:chExt cx="1066500" cy="777328"/>
          </a:xfrm>
        </p:grpSpPr>
        <p:sp>
          <p:nvSpPr>
            <p:cNvPr id="9" name="Google Shape;240;p20">
              <a:extLst>
                <a:ext uri="{FF2B5EF4-FFF2-40B4-BE49-F238E27FC236}">
                  <a16:creationId xmlns:a16="http://schemas.microsoft.com/office/drawing/2014/main" id="{264D7C0E-C862-F3A7-AC34-B4CDA605278B}"/>
                </a:ext>
              </a:extLst>
            </p:cNvPr>
            <p:cNvSpPr txBox="1"/>
            <p:nvPr/>
          </p:nvSpPr>
          <p:spPr>
            <a:xfrm>
              <a:off x="3248677" y="2760120"/>
              <a:ext cx="1066500" cy="348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Montserrat Light"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Location</a:t>
              </a:r>
              <a:b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</a:b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Verification</a:t>
              </a:r>
              <a:endPara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Montserrat Light"/>
                <a:sym typeface="Montserrat Light"/>
              </a:endParaRPr>
            </a:p>
          </p:txBody>
        </p:sp>
        <p:grpSp>
          <p:nvGrpSpPr>
            <p:cNvPr id="21" name="Google Shape;252;p20">
              <a:extLst>
                <a:ext uri="{FF2B5EF4-FFF2-40B4-BE49-F238E27FC236}">
                  <a16:creationId xmlns:a16="http://schemas.microsoft.com/office/drawing/2014/main" id="{C233F146-1483-5C6E-FF08-D2F91E432DC5}"/>
                </a:ext>
              </a:extLst>
            </p:cNvPr>
            <p:cNvGrpSpPr/>
            <p:nvPr/>
          </p:nvGrpSpPr>
          <p:grpSpPr>
            <a:xfrm>
              <a:off x="3508850" y="2331692"/>
              <a:ext cx="450128" cy="398464"/>
              <a:chOff x="110067" y="275988"/>
              <a:chExt cx="533453" cy="745490"/>
            </a:xfrm>
          </p:grpSpPr>
          <p:sp>
            <p:nvSpPr>
              <p:cNvPr id="22" name="Google Shape;253;p20">
                <a:extLst>
                  <a:ext uri="{FF2B5EF4-FFF2-40B4-BE49-F238E27FC236}">
                    <a16:creationId xmlns:a16="http://schemas.microsoft.com/office/drawing/2014/main" id="{BC574DD2-80BE-9AC1-A010-A533945ECB5E}"/>
                  </a:ext>
                </a:extLst>
              </p:cNvPr>
              <p:cNvSpPr/>
              <p:nvPr/>
            </p:nvSpPr>
            <p:spPr>
              <a:xfrm>
                <a:off x="110067" y="747073"/>
                <a:ext cx="533453" cy="274405"/>
              </a:xfrm>
              <a:prstGeom prst="ellipse">
                <a:avLst/>
              </a:prstGeom>
              <a:noFill/>
              <a:ln w="19050" cap="flat" cmpd="sng">
                <a:solidFill>
                  <a:schemeClr val="dk1"/>
                </a:solidFill>
                <a:prstDash val="dot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Montserrat Light"/>
                  <a:buNone/>
                  <a:tabLst/>
                  <a:defRPr/>
                </a:pPr>
                <a:endParaRPr kumimoji="0" lang="en-US" sz="1800" b="0" i="0" u="none" strike="noStrike" kern="0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ontserrat Light" panose="00000400000000000000" pitchFamily="2" charset="0"/>
                  <a:ea typeface="Montserrat Light"/>
                  <a:cs typeface="Montserrat Light"/>
                  <a:sym typeface="Montserrat Light"/>
                </a:endParaRPr>
              </a:p>
            </p:txBody>
          </p:sp>
          <p:sp>
            <p:nvSpPr>
              <p:cNvPr id="23" name="Google Shape;254;p20">
                <a:extLst>
                  <a:ext uri="{FF2B5EF4-FFF2-40B4-BE49-F238E27FC236}">
                    <a16:creationId xmlns:a16="http://schemas.microsoft.com/office/drawing/2014/main" id="{1899D64A-630D-D952-4DFB-E5F125ED869A}"/>
                  </a:ext>
                </a:extLst>
              </p:cNvPr>
              <p:cNvSpPr/>
              <p:nvPr/>
            </p:nvSpPr>
            <p:spPr>
              <a:xfrm>
                <a:off x="290399" y="438738"/>
                <a:ext cx="184745" cy="165331"/>
              </a:xfrm>
              <a:custGeom>
                <a:avLst/>
                <a:gdLst/>
                <a:ahLst/>
                <a:cxnLst/>
                <a:rect l="l" t="t" r="r" b="b"/>
                <a:pathLst>
                  <a:path w="131122" h="89623" extrusionOk="0">
                    <a:moveTo>
                      <a:pt x="6630" y="34860"/>
                    </a:moveTo>
                    <a:lnTo>
                      <a:pt x="0" y="41490"/>
                    </a:lnTo>
                    <a:lnTo>
                      <a:pt x="48129" y="89623"/>
                    </a:lnTo>
                    <a:lnTo>
                      <a:pt x="131123" y="6630"/>
                    </a:lnTo>
                    <a:lnTo>
                      <a:pt x="124493" y="0"/>
                    </a:lnTo>
                    <a:lnTo>
                      <a:pt x="48129" y="76364"/>
                    </a:lnTo>
                    <a:lnTo>
                      <a:pt x="6630" y="3486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Montserrat Light"/>
                  <a:buNone/>
                  <a:tabLst/>
                  <a:defRPr/>
                </a:pPr>
                <a:endParaRPr kumimoji="0" lang="en-US" sz="1800" b="0" i="0" u="none" strike="noStrike" kern="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 Light" panose="00000400000000000000" pitchFamily="2" charset="0"/>
                  <a:ea typeface="Montserrat Light"/>
                  <a:cs typeface="Montserrat Light"/>
                  <a:sym typeface="Montserrat Light"/>
                </a:endParaRPr>
              </a:p>
            </p:txBody>
          </p:sp>
          <p:sp>
            <p:nvSpPr>
              <p:cNvPr id="24" name="Google Shape;255;p20">
                <a:extLst>
                  <a:ext uri="{FF2B5EF4-FFF2-40B4-BE49-F238E27FC236}">
                    <a16:creationId xmlns:a16="http://schemas.microsoft.com/office/drawing/2014/main" id="{7A687984-98C9-2AB0-0205-B4FE6C89828E}"/>
                  </a:ext>
                </a:extLst>
              </p:cNvPr>
              <p:cNvSpPr/>
              <p:nvPr/>
            </p:nvSpPr>
            <p:spPr>
              <a:xfrm>
                <a:off x="186756" y="275988"/>
                <a:ext cx="398839" cy="647794"/>
              </a:xfrm>
              <a:custGeom>
                <a:avLst/>
                <a:gdLst/>
                <a:ahLst/>
                <a:cxnLst/>
                <a:rect l="l" t="t" r="r" b="b"/>
                <a:pathLst>
                  <a:path w="398839" h="647794" extrusionOk="0">
                    <a:moveTo>
                      <a:pt x="199424" y="0"/>
                    </a:moveTo>
                    <a:cubicBezTo>
                      <a:pt x="133326" y="-74"/>
                      <a:pt x="71535" y="32786"/>
                      <a:pt x="34642" y="87630"/>
                    </a:cubicBezTo>
                    <a:cubicBezTo>
                      <a:pt x="-2447" y="142353"/>
                      <a:pt x="-10280" y="211806"/>
                      <a:pt x="13687" y="273415"/>
                    </a:cubicBezTo>
                    <a:lnTo>
                      <a:pt x="104174" y="473497"/>
                    </a:lnTo>
                    <a:lnTo>
                      <a:pt x="182279" y="637327"/>
                    </a:lnTo>
                    <a:cubicBezTo>
                      <a:pt x="187147" y="646796"/>
                      <a:pt x="198771" y="650525"/>
                      <a:pt x="208240" y="645657"/>
                    </a:cubicBezTo>
                    <a:cubicBezTo>
                      <a:pt x="211817" y="643818"/>
                      <a:pt x="214730" y="640905"/>
                      <a:pt x="216569" y="637327"/>
                    </a:cubicBezTo>
                    <a:lnTo>
                      <a:pt x="294674" y="473497"/>
                    </a:lnTo>
                    <a:lnTo>
                      <a:pt x="385162" y="273415"/>
                    </a:lnTo>
                    <a:cubicBezTo>
                      <a:pt x="409117" y="211820"/>
                      <a:pt x="401283" y="142387"/>
                      <a:pt x="364207" y="87678"/>
                    </a:cubicBezTo>
                    <a:cubicBezTo>
                      <a:pt x="327324" y="32816"/>
                      <a:pt x="265531" y="-63"/>
                      <a:pt x="199424" y="0"/>
                    </a:cubicBezTo>
                    <a:close/>
                    <a:moveTo>
                      <a:pt x="367578" y="266110"/>
                    </a:moveTo>
                    <a:lnTo>
                      <a:pt x="277482" y="465325"/>
                    </a:lnTo>
                    <a:lnTo>
                      <a:pt x="199548" y="628831"/>
                    </a:lnTo>
                    <a:lnTo>
                      <a:pt x="199291" y="628831"/>
                    </a:lnTo>
                    <a:lnTo>
                      <a:pt x="121519" y="465677"/>
                    </a:lnTo>
                    <a:lnTo>
                      <a:pt x="31260" y="266110"/>
                    </a:lnTo>
                    <a:cubicBezTo>
                      <a:pt x="9752" y="210405"/>
                      <a:pt x="16920" y="147694"/>
                      <a:pt x="50444" y="98279"/>
                    </a:cubicBezTo>
                    <a:cubicBezTo>
                      <a:pt x="105920" y="16000"/>
                      <a:pt x="217593" y="-5726"/>
                      <a:pt x="299872" y="49750"/>
                    </a:cubicBezTo>
                    <a:cubicBezTo>
                      <a:pt x="319061" y="62689"/>
                      <a:pt x="335570" y="79212"/>
                      <a:pt x="348490" y="98412"/>
                    </a:cubicBezTo>
                    <a:cubicBezTo>
                      <a:pt x="381948" y="147806"/>
                      <a:pt x="389079" y="210460"/>
                      <a:pt x="367578" y="266110"/>
                    </a:cubicBezTo>
                    <a:close/>
                  </a:path>
                </a:pathLst>
              </a:custGeom>
              <a:solidFill>
                <a:schemeClr val="dk1"/>
              </a:solidFill>
              <a:ln w="12700" cap="flat" cmpd="sng">
                <a:solidFill>
                  <a:schemeClr val="dk1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Montserrat Light"/>
                  <a:buNone/>
                  <a:tabLst/>
                  <a:defRPr/>
                </a:pPr>
                <a:endParaRPr kumimoji="0" lang="en-US" sz="1800" b="0" i="0" u="none" strike="noStrike" kern="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 Light" panose="00000400000000000000" pitchFamily="2" charset="0"/>
                  <a:ea typeface="Montserrat Light"/>
                  <a:cs typeface="Montserrat Light"/>
                  <a:sym typeface="Montserrat Light"/>
                </a:endParaRPr>
              </a:p>
            </p:txBody>
          </p:sp>
        </p:grpSp>
      </p:grpSp>
      <p:grpSp>
        <p:nvGrpSpPr>
          <p:cNvPr id="95" name="Group 94">
            <a:extLst>
              <a:ext uri="{FF2B5EF4-FFF2-40B4-BE49-F238E27FC236}">
                <a16:creationId xmlns:a16="http://schemas.microsoft.com/office/drawing/2014/main" id="{C0948933-CBB3-02F6-471B-B2C12284FCC4}"/>
              </a:ext>
            </a:extLst>
          </p:cNvPr>
          <p:cNvGrpSpPr/>
          <p:nvPr/>
        </p:nvGrpSpPr>
        <p:grpSpPr>
          <a:xfrm>
            <a:off x="5376608" y="2388177"/>
            <a:ext cx="1002228" cy="860848"/>
            <a:chOff x="10170224" y="2262350"/>
            <a:chExt cx="1002228" cy="860848"/>
          </a:xfrm>
        </p:grpSpPr>
        <p:sp>
          <p:nvSpPr>
            <p:cNvPr id="17" name="Google Shape;248;p20">
              <a:extLst>
                <a:ext uri="{FF2B5EF4-FFF2-40B4-BE49-F238E27FC236}">
                  <a16:creationId xmlns:a16="http://schemas.microsoft.com/office/drawing/2014/main" id="{20B4A23C-7FF3-E2BD-A4FE-29B6B94A3844}"/>
                </a:ext>
              </a:extLst>
            </p:cNvPr>
            <p:cNvSpPr txBox="1"/>
            <p:nvPr/>
          </p:nvSpPr>
          <p:spPr>
            <a:xfrm>
              <a:off x="10170224" y="2774298"/>
              <a:ext cx="1002228" cy="348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Montserrat Light"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Carrier </a:t>
              </a:r>
              <a:b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</a:b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Billing</a:t>
              </a:r>
              <a:endPara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Montserrat Light"/>
                <a:sym typeface="Montserrat Light"/>
              </a:endParaRPr>
            </a:p>
          </p:txBody>
        </p:sp>
        <p:pic>
          <p:nvPicPr>
            <p:cNvPr id="30" name="Google Shape;261;p20" descr="Credit card outline">
              <a:extLst>
                <a:ext uri="{FF2B5EF4-FFF2-40B4-BE49-F238E27FC236}">
                  <a16:creationId xmlns:a16="http://schemas.microsoft.com/office/drawing/2014/main" id="{60114AB0-952D-1057-99F1-8072D6FF66CE}"/>
                </a:ext>
              </a:extLst>
            </p:cNvPr>
            <p:cNvPicPr preferRelativeResize="0"/>
            <p:nvPr/>
          </p:nvPicPr>
          <p:blipFill rotWithShape="1">
            <a:blip r:embed="rId7">
              <a:alphaModFix/>
            </a:blip>
            <a:srcRect/>
            <a:stretch/>
          </p:blipFill>
          <p:spPr>
            <a:xfrm>
              <a:off x="10406451" y="2262350"/>
              <a:ext cx="548362" cy="548362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86" name="Group 85">
            <a:extLst>
              <a:ext uri="{FF2B5EF4-FFF2-40B4-BE49-F238E27FC236}">
                <a16:creationId xmlns:a16="http://schemas.microsoft.com/office/drawing/2014/main" id="{E82CAC40-E2BB-02C2-2B1E-F874A82688A1}"/>
              </a:ext>
            </a:extLst>
          </p:cNvPr>
          <p:cNvGrpSpPr/>
          <p:nvPr/>
        </p:nvGrpSpPr>
        <p:grpSpPr>
          <a:xfrm>
            <a:off x="2195382" y="3360507"/>
            <a:ext cx="1173600" cy="907652"/>
            <a:chOff x="9137953" y="2211993"/>
            <a:chExt cx="1173600" cy="907652"/>
          </a:xfrm>
        </p:grpSpPr>
        <p:sp>
          <p:nvSpPr>
            <p:cNvPr id="16" name="Google Shape;247;p20">
              <a:extLst>
                <a:ext uri="{FF2B5EF4-FFF2-40B4-BE49-F238E27FC236}">
                  <a16:creationId xmlns:a16="http://schemas.microsoft.com/office/drawing/2014/main" id="{B74D19B1-58E3-F6EC-228E-154CAE54829A}"/>
                </a:ext>
              </a:extLst>
            </p:cNvPr>
            <p:cNvSpPr txBox="1"/>
            <p:nvPr/>
          </p:nvSpPr>
          <p:spPr>
            <a:xfrm>
              <a:off x="9137953" y="2770745"/>
              <a:ext cx="1173600" cy="348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Montserrat Light"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Simple Edge Discovery</a:t>
              </a:r>
              <a:endPara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Montserrat Light"/>
                <a:sym typeface="Montserrat Light"/>
              </a:endParaRPr>
            </a:p>
          </p:txBody>
        </p:sp>
        <p:grpSp>
          <p:nvGrpSpPr>
            <p:cNvPr id="31" name="Google Shape;262;p20">
              <a:extLst>
                <a:ext uri="{FF2B5EF4-FFF2-40B4-BE49-F238E27FC236}">
                  <a16:creationId xmlns:a16="http://schemas.microsoft.com/office/drawing/2014/main" id="{0F90CB9B-7EBA-4D7F-69B8-E89F4493C9BC}"/>
                </a:ext>
              </a:extLst>
            </p:cNvPr>
            <p:cNvGrpSpPr/>
            <p:nvPr/>
          </p:nvGrpSpPr>
          <p:grpSpPr>
            <a:xfrm>
              <a:off x="9364508" y="2211993"/>
              <a:ext cx="675369" cy="640653"/>
              <a:chOff x="11045276" y="198192"/>
              <a:chExt cx="492431" cy="492431"/>
            </a:xfrm>
          </p:grpSpPr>
          <p:pic>
            <p:nvPicPr>
              <p:cNvPr id="32" name="Google Shape;263;p20" descr="Cloud outline">
                <a:extLst>
                  <a:ext uri="{FF2B5EF4-FFF2-40B4-BE49-F238E27FC236}">
                    <a16:creationId xmlns:a16="http://schemas.microsoft.com/office/drawing/2014/main" id="{84FB87CC-D916-C808-FFAB-AAC93221027E}"/>
                  </a:ext>
                </a:extLst>
              </p:cNvPr>
              <p:cNvPicPr preferRelativeResize="0"/>
              <p:nvPr/>
            </p:nvPicPr>
            <p:blipFill rotWithShape="1">
              <a:blip r:embed="rId8">
                <a:alphaModFix/>
              </a:blip>
              <a:srcRect/>
              <a:stretch/>
            </p:blipFill>
            <p:spPr>
              <a:xfrm>
                <a:off x="11045276" y="198192"/>
                <a:ext cx="492431" cy="492431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33" name="Google Shape;264;p20" descr="Magnifying glass outline">
                <a:extLst>
                  <a:ext uri="{FF2B5EF4-FFF2-40B4-BE49-F238E27FC236}">
                    <a16:creationId xmlns:a16="http://schemas.microsoft.com/office/drawing/2014/main" id="{A951CB27-DF80-3B7F-04BD-E21CCED8A98E}"/>
                  </a:ext>
                </a:extLst>
              </p:cNvPr>
              <p:cNvPicPr preferRelativeResize="0"/>
              <p:nvPr/>
            </p:nvPicPr>
            <p:blipFill rotWithShape="1">
              <a:blip r:embed="rId9">
                <a:alphaModFix/>
              </a:blip>
              <a:srcRect/>
              <a:stretch/>
            </p:blipFill>
            <p:spPr>
              <a:xfrm>
                <a:off x="11204598" y="386677"/>
                <a:ext cx="173786" cy="173786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4774F83B-4FDF-8A5A-50E2-06BB694B1BC6}"/>
              </a:ext>
            </a:extLst>
          </p:cNvPr>
          <p:cNvGrpSpPr/>
          <p:nvPr/>
        </p:nvGrpSpPr>
        <p:grpSpPr>
          <a:xfrm>
            <a:off x="6544288" y="2413823"/>
            <a:ext cx="1297746" cy="835202"/>
            <a:chOff x="4133803" y="2259636"/>
            <a:chExt cx="1297746" cy="835202"/>
          </a:xfrm>
        </p:grpSpPr>
        <p:sp>
          <p:nvSpPr>
            <p:cNvPr id="15" name="Google Shape;246;p20">
              <a:extLst>
                <a:ext uri="{FF2B5EF4-FFF2-40B4-BE49-F238E27FC236}">
                  <a16:creationId xmlns:a16="http://schemas.microsoft.com/office/drawing/2014/main" id="{697726D1-8C29-9BDD-C08F-F1171DE61ECA}"/>
                </a:ext>
              </a:extLst>
            </p:cNvPr>
            <p:cNvSpPr txBox="1"/>
            <p:nvPr/>
          </p:nvSpPr>
          <p:spPr>
            <a:xfrm>
              <a:off x="4133803" y="2745938"/>
              <a:ext cx="1297746" cy="348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Montserrat Light"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Device </a:t>
              </a:r>
              <a:b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</a:b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Roaming Status</a:t>
              </a:r>
              <a:br>
                <a:rPr kumimoji="0" lang="en-US" sz="1100" b="0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 Light" panose="00000400000000000000" pitchFamily="2" charset="0"/>
                  <a:ea typeface="Montserrat Light"/>
                  <a:cs typeface="Montserrat Light"/>
                  <a:sym typeface="Montserrat Light"/>
                </a:rPr>
              </a:br>
              <a:endParaRPr kumimoji="0" lang="en-US" sz="14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cs typeface="Montserrat Light"/>
                <a:sym typeface="Montserrat Light"/>
              </a:endParaRPr>
            </a:p>
          </p:txBody>
        </p:sp>
        <p:grpSp>
          <p:nvGrpSpPr>
            <p:cNvPr id="34" name="Google Shape;265;p20">
              <a:extLst>
                <a:ext uri="{FF2B5EF4-FFF2-40B4-BE49-F238E27FC236}">
                  <a16:creationId xmlns:a16="http://schemas.microsoft.com/office/drawing/2014/main" id="{67C46A61-7202-5C1D-83C0-FDE299118505}"/>
                </a:ext>
              </a:extLst>
            </p:cNvPr>
            <p:cNvGrpSpPr/>
            <p:nvPr/>
          </p:nvGrpSpPr>
          <p:grpSpPr>
            <a:xfrm>
              <a:off x="4505947" y="2259636"/>
              <a:ext cx="483063" cy="483063"/>
              <a:chOff x="8745646" y="112631"/>
              <a:chExt cx="483063" cy="483063"/>
            </a:xfrm>
          </p:grpSpPr>
          <p:pic>
            <p:nvPicPr>
              <p:cNvPr id="35" name="Google Shape;266;p20" descr="Smart Phone outline">
                <a:extLst>
                  <a:ext uri="{FF2B5EF4-FFF2-40B4-BE49-F238E27FC236}">
                    <a16:creationId xmlns:a16="http://schemas.microsoft.com/office/drawing/2014/main" id="{6800D458-839D-F61B-64A1-30120CEF92AE}"/>
                  </a:ext>
                </a:extLst>
              </p:cNvPr>
              <p:cNvPicPr preferRelativeResize="0"/>
              <p:nvPr/>
            </p:nvPicPr>
            <p:blipFill rotWithShape="1">
              <a:blip r:embed="rId10">
                <a:alphaModFix/>
              </a:blip>
              <a:srcRect/>
              <a:stretch/>
            </p:blipFill>
            <p:spPr>
              <a:xfrm>
                <a:off x="8745646" y="112631"/>
                <a:ext cx="483063" cy="483063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36" name="Google Shape;267;p20" descr="World outline">
                <a:extLst>
                  <a:ext uri="{FF2B5EF4-FFF2-40B4-BE49-F238E27FC236}">
                    <a16:creationId xmlns:a16="http://schemas.microsoft.com/office/drawing/2014/main" id="{1C071B71-BD98-D281-8C7E-5820C6B6186B}"/>
                  </a:ext>
                </a:extLst>
              </p:cNvPr>
              <p:cNvPicPr preferRelativeResize="0"/>
              <p:nvPr/>
            </p:nvPicPr>
            <p:blipFill rotWithShape="1">
              <a:blip r:embed="rId11">
                <a:alphaModFix/>
              </a:blip>
              <a:srcRect/>
              <a:stretch/>
            </p:blipFill>
            <p:spPr>
              <a:xfrm rot="1645624" flipH="1">
                <a:off x="8883107" y="261061"/>
                <a:ext cx="189144" cy="189144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D8EE031F-06C7-0616-AF1E-C71C964363CE}"/>
              </a:ext>
            </a:extLst>
          </p:cNvPr>
          <p:cNvGrpSpPr/>
          <p:nvPr/>
        </p:nvGrpSpPr>
        <p:grpSpPr>
          <a:xfrm>
            <a:off x="9760485" y="2355486"/>
            <a:ext cx="744668" cy="893539"/>
            <a:chOff x="8343946" y="2365388"/>
            <a:chExt cx="744668" cy="893539"/>
          </a:xfrm>
        </p:grpSpPr>
        <p:sp>
          <p:nvSpPr>
            <p:cNvPr id="29" name="Google Shape;260;p20">
              <a:extLst>
                <a:ext uri="{FF2B5EF4-FFF2-40B4-BE49-F238E27FC236}">
                  <a16:creationId xmlns:a16="http://schemas.microsoft.com/office/drawing/2014/main" id="{88BD2197-6F13-B942-4152-40A119AC5BA3}"/>
                </a:ext>
              </a:extLst>
            </p:cNvPr>
            <p:cNvSpPr/>
            <p:nvPr/>
          </p:nvSpPr>
          <p:spPr>
            <a:xfrm>
              <a:off x="8684896" y="2628952"/>
              <a:ext cx="66889" cy="45719"/>
            </a:xfrm>
            <a:custGeom>
              <a:avLst/>
              <a:gdLst/>
              <a:ahLst/>
              <a:cxnLst/>
              <a:rect l="l" t="t" r="r" b="b"/>
              <a:pathLst>
                <a:path w="131122" h="89623" extrusionOk="0">
                  <a:moveTo>
                    <a:pt x="6630" y="34860"/>
                  </a:moveTo>
                  <a:lnTo>
                    <a:pt x="0" y="41490"/>
                  </a:lnTo>
                  <a:lnTo>
                    <a:pt x="48129" y="89623"/>
                  </a:lnTo>
                  <a:lnTo>
                    <a:pt x="131123" y="6630"/>
                  </a:lnTo>
                  <a:lnTo>
                    <a:pt x="124493" y="0"/>
                  </a:lnTo>
                  <a:lnTo>
                    <a:pt x="48129" y="76364"/>
                  </a:lnTo>
                  <a:lnTo>
                    <a:pt x="6630" y="3486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Montserrat Light"/>
                <a:buNone/>
                <a:tabLst/>
                <a:defRPr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endParaRPr>
            </a:p>
          </p:txBody>
        </p:sp>
        <p:grpSp>
          <p:nvGrpSpPr>
            <p:cNvPr id="117" name="Group 116">
              <a:extLst>
                <a:ext uri="{FF2B5EF4-FFF2-40B4-BE49-F238E27FC236}">
                  <a16:creationId xmlns:a16="http://schemas.microsoft.com/office/drawing/2014/main" id="{7E05EBDD-47DA-6592-0851-1A1CD5B2BE1A}"/>
                </a:ext>
              </a:extLst>
            </p:cNvPr>
            <p:cNvGrpSpPr/>
            <p:nvPr/>
          </p:nvGrpSpPr>
          <p:grpSpPr>
            <a:xfrm>
              <a:off x="8343946" y="2365388"/>
              <a:ext cx="744668" cy="893539"/>
              <a:chOff x="6426509" y="470715"/>
              <a:chExt cx="744668" cy="893539"/>
            </a:xfrm>
          </p:grpSpPr>
          <p:sp>
            <p:nvSpPr>
              <p:cNvPr id="10" name="Google Shape;241;p20">
                <a:extLst>
                  <a:ext uri="{FF2B5EF4-FFF2-40B4-BE49-F238E27FC236}">
                    <a16:creationId xmlns:a16="http://schemas.microsoft.com/office/drawing/2014/main" id="{E31DF88C-EB25-E81F-79CB-CF55B09753C9}"/>
                  </a:ext>
                </a:extLst>
              </p:cNvPr>
              <p:cNvSpPr txBox="1"/>
              <p:nvPr/>
            </p:nvSpPr>
            <p:spPr>
              <a:xfrm>
                <a:off x="6426509" y="998910"/>
                <a:ext cx="744668" cy="36534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Montserrat Light"/>
                  <a:buNone/>
                  <a:tabLst/>
                  <a:defRPr/>
                </a:pPr>
                <a:r>
                  <a:rPr kumimoji="0" lang="en-US" sz="1100" b="1" i="0" u="none" strike="noStrike" kern="0" cap="none" spc="0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Montserrat" pitchFamily="2" charset="77"/>
                    <a:ea typeface="Montserrat Light"/>
                    <a:cs typeface="Montserrat Light"/>
                    <a:sym typeface="Montserrat Light"/>
                  </a:rPr>
                  <a:t>KYC</a:t>
                </a:r>
                <a:r>
                  <a:rPr kumimoji="0" lang="en-US" sz="1100" b="1" i="0" u="none" strike="noStrike" kern="0" cap="none" spc="0" normalizeH="0" baseline="3000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Montserrat" pitchFamily="2" charset="77"/>
                    <a:ea typeface="Montserrat Light"/>
                    <a:cs typeface="Montserrat Light"/>
                    <a:sym typeface="Montserrat Light"/>
                  </a:rPr>
                  <a:t>3</a:t>
                </a:r>
                <a:br>
                  <a:rPr kumimoji="0" lang="en-US" sz="1100" b="1" i="0" u="none" strike="noStrike" kern="0" cap="none" spc="0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Montserrat" pitchFamily="2" charset="77"/>
                    <a:ea typeface="Montserrat Light"/>
                    <a:cs typeface="Montserrat Light"/>
                    <a:sym typeface="Montserrat Light"/>
                  </a:rPr>
                </a:br>
                <a:r>
                  <a:rPr kumimoji="0" lang="en-US" sz="1100" b="1" i="0" u="none" strike="noStrike" kern="0" cap="none" spc="0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Montserrat" pitchFamily="2" charset="77"/>
                    <a:ea typeface="Montserrat Light"/>
                    <a:cs typeface="Montserrat Light"/>
                    <a:sym typeface="Montserrat Light"/>
                  </a:rPr>
                  <a:t>Match</a:t>
                </a:r>
                <a:endParaRPr kumimoji="0" lang="en-US" sz="14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cs typeface="Montserrat Light"/>
                  <a:sym typeface="Montserrat Light"/>
                </a:endParaRPr>
              </a:p>
            </p:txBody>
          </p:sp>
          <p:grpSp>
            <p:nvGrpSpPr>
              <p:cNvPr id="40" name="Google Shape;271;p20">
                <a:extLst>
                  <a:ext uri="{FF2B5EF4-FFF2-40B4-BE49-F238E27FC236}">
                    <a16:creationId xmlns:a16="http://schemas.microsoft.com/office/drawing/2014/main" id="{B02918D7-8F34-00A5-3D67-8CDC6F06EB84}"/>
                  </a:ext>
                </a:extLst>
              </p:cNvPr>
              <p:cNvGrpSpPr/>
              <p:nvPr/>
            </p:nvGrpSpPr>
            <p:grpSpPr>
              <a:xfrm>
                <a:off x="6501504" y="470715"/>
                <a:ext cx="608532" cy="488769"/>
                <a:chOff x="11244985" y="238371"/>
                <a:chExt cx="896990" cy="611042"/>
              </a:xfrm>
            </p:grpSpPr>
            <p:pic>
              <p:nvPicPr>
                <p:cNvPr id="41" name="Google Shape;272;p20" descr="User outline">
                  <a:extLst>
                    <a:ext uri="{FF2B5EF4-FFF2-40B4-BE49-F238E27FC236}">
                      <a16:creationId xmlns:a16="http://schemas.microsoft.com/office/drawing/2014/main" id="{A7363D60-CA19-362F-90B5-3DD6895F4CBC}"/>
                    </a:ext>
                  </a:extLst>
                </p:cNvPr>
                <p:cNvPicPr preferRelativeResize="0"/>
                <p:nvPr/>
              </p:nvPicPr>
              <p:blipFill rotWithShape="1">
                <a:blip r:embed="rId12">
                  <a:alphaModFix/>
                </a:blip>
                <a:srcRect/>
                <a:stretch/>
              </p:blipFill>
              <p:spPr>
                <a:xfrm>
                  <a:off x="11494035" y="311642"/>
                  <a:ext cx="389382" cy="389382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  <p:pic>
              <p:nvPicPr>
                <p:cNvPr id="42" name="Google Shape;273;p20" descr="Smart Phone outline">
                  <a:extLst>
                    <a:ext uri="{FF2B5EF4-FFF2-40B4-BE49-F238E27FC236}">
                      <a16:creationId xmlns:a16="http://schemas.microsoft.com/office/drawing/2014/main" id="{CD4C5644-9023-7E19-579F-9728850026E2}"/>
                    </a:ext>
                  </a:extLst>
                </p:cNvPr>
                <p:cNvPicPr preferRelativeResize="0"/>
                <p:nvPr/>
              </p:nvPicPr>
              <p:blipFill rotWithShape="1">
                <a:blip r:embed="rId10">
                  <a:alphaModFix/>
                </a:blip>
                <a:srcRect/>
                <a:stretch/>
              </p:blipFill>
              <p:spPr>
                <a:xfrm>
                  <a:off x="11244985" y="238371"/>
                  <a:ext cx="896990" cy="611042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</p:grpSp>
        </p:grpSp>
      </p:grpSp>
      <p:sp>
        <p:nvSpPr>
          <p:cNvPr id="43" name="Google Shape;274;p20">
            <a:extLst>
              <a:ext uri="{FF2B5EF4-FFF2-40B4-BE49-F238E27FC236}">
                <a16:creationId xmlns:a16="http://schemas.microsoft.com/office/drawing/2014/main" id="{FA5544D7-128B-7DF5-3766-A8CE6BE53B70}"/>
              </a:ext>
            </a:extLst>
          </p:cNvPr>
          <p:cNvSpPr txBox="1"/>
          <p:nvPr/>
        </p:nvSpPr>
        <p:spPr>
          <a:xfrm>
            <a:off x="7790525" y="6231138"/>
            <a:ext cx="3347307" cy="253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Montserrat Light"/>
              <a:buNone/>
              <a:tabLst/>
              <a:defRPr/>
            </a:pPr>
            <a:r>
              <a:rPr lang="en-US" sz="800" kern="0" dirty="0">
                <a:solidFill>
                  <a:srgbClr val="000000"/>
                </a:solidFill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2</a:t>
            </a:r>
            <a:r>
              <a:rPr kumimoji="0" lang="en-US" sz="8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 OTP = One Time Password</a:t>
            </a:r>
            <a:r>
              <a:rPr kumimoji="0" lang="en-US" sz="8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cs typeface="Montserrat Light"/>
                <a:sym typeface="Montserrat Light"/>
              </a:rPr>
              <a:t>           </a:t>
            </a:r>
            <a:r>
              <a:rPr lang="en-US" sz="800" kern="0" dirty="0">
                <a:solidFill>
                  <a:srgbClr val="000000"/>
                </a:solidFill>
                <a:latin typeface="Montserrat Light" panose="00000400000000000000" pitchFamily="2" charset="0"/>
                <a:cs typeface="Montserrat Light"/>
                <a:sym typeface="Montserrat Light"/>
              </a:rPr>
              <a:t>3</a:t>
            </a:r>
            <a:r>
              <a:rPr kumimoji="0" lang="en-US" sz="8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 KYC = Know Your Customer</a:t>
            </a:r>
            <a:endParaRPr kumimoji="0" lang="en-US" sz="800" b="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 Light" panose="00000400000000000000" pitchFamily="2" charset="0"/>
              <a:cs typeface="Montserrat Light"/>
              <a:sym typeface="Montserrat Light"/>
            </a:endParaRPr>
          </a:p>
        </p:txBody>
      </p:sp>
      <p:sp>
        <p:nvSpPr>
          <p:cNvPr id="55" name="Google Shape;286;p20">
            <a:extLst>
              <a:ext uri="{FF2B5EF4-FFF2-40B4-BE49-F238E27FC236}">
                <a16:creationId xmlns:a16="http://schemas.microsoft.com/office/drawing/2014/main" id="{D2397C34-D309-C75C-D946-29B33D30265C}"/>
              </a:ext>
            </a:extLst>
          </p:cNvPr>
          <p:cNvSpPr txBox="1"/>
          <p:nvPr/>
        </p:nvSpPr>
        <p:spPr>
          <a:xfrm>
            <a:off x="6282650" y="4803607"/>
            <a:ext cx="1108482" cy="34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Montserrat Light"/>
              <a:buNone/>
              <a:tabLst/>
              <a:defRPr/>
            </a:pPr>
            <a: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  <a:t>Connectivity</a:t>
            </a:r>
            <a:b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</a:br>
            <a: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  <a:t>Insights</a:t>
            </a:r>
          </a:p>
        </p:txBody>
      </p:sp>
      <p:sp>
        <p:nvSpPr>
          <p:cNvPr id="57" name="Google Shape;288;p20">
            <a:extLst>
              <a:ext uri="{FF2B5EF4-FFF2-40B4-BE49-F238E27FC236}">
                <a16:creationId xmlns:a16="http://schemas.microsoft.com/office/drawing/2014/main" id="{5C25AA9B-3C43-0477-3529-AC38630DC3EE}"/>
              </a:ext>
            </a:extLst>
          </p:cNvPr>
          <p:cNvSpPr txBox="1"/>
          <p:nvPr/>
        </p:nvSpPr>
        <p:spPr>
          <a:xfrm>
            <a:off x="2363694" y="4803607"/>
            <a:ext cx="1212692" cy="34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Montserrat Light"/>
              <a:buNone/>
              <a:tabLst/>
              <a:defRPr/>
            </a:pPr>
            <a: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  <a:t>Call Forwarding</a:t>
            </a:r>
            <a:b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</a:br>
            <a: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  <a:t>Signal</a:t>
            </a:r>
            <a:endParaRPr kumimoji="0" lang="en-US" sz="14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itchFamily="2" charset="77"/>
              <a:cs typeface="Montserrat Light"/>
              <a:sym typeface="Montserrat Light"/>
            </a:endParaRPr>
          </a:p>
        </p:txBody>
      </p:sp>
      <p:sp>
        <p:nvSpPr>
          <p:cNvPr id="58" name="Google Shape;289;p20">
            <a:extLst>
              <a:ext uri="{FF2B5EF4-FFF2-40B4-BE49-F238E27FC236}">
                <a16:creationId xmlns:a16="http://schemas.microsoft.com/office/drawing/2014/main" id="{40DE9880-1276-FD40-12ED-16D0030E9F42}"/>
              </a:ext>
            </a:extLst>
          </p:cNvPr>
          <p:cNvSpPr txBox="1"/>
          <p:nvPr/>
        </p:nvSpPr>
        <p:spPr>
          <a:xfrm>
            <a:off x="7391132" y="5732386"/>
            <a:ext cx="1109700" cy="34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Montserrat Light"/>
              <a:buNone/>
              <a:tabLst/>
              <a:defRPr/>
            </a:pPr>
            <a: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  <a:t>Geofencing</a:t>
            </a:r>
            <a:r>
              <a:rPr kumimoji="0" lang="en-US" sz="11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 Subscriptions</a:t>
            </a:r>
            <a:endParaRPr kumimoji="0" lang="en-US" sz="1400" b="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 Light" panose="00000400000000000000" pitchFamily="2" charset="0"/>
              <a:cs typeface="Montserrat Light"/>
              <a:sym typeface="Montserrat Light"/>
            </a:endParaRPr>
          </a:p>
        </p:txBody>
      </p:sp>
      <p:sp>
        <p:nvSpPr>
          <p:cNvPr id="60" name="Google Shape;291;p20">
            <a:extLst>
              <a:ext uri="{FF2B5EF4-FFF2-40B4-BE49-F238E27FC236}">
                <a16:creationId xmlns:a16="http://schemas.microsoft.com/office/drawing/2014/main" id="{8548EC94-6258-41D3-C5DE-D77C7A0A245A}"/>
              </a:ext>
            </a:extLst>
          </p:cNvPr>
          <p:cNvSpPr txBox="1"/>
          <p:nvPr/>
        </p:nvSpPr>
        <p:spPr>
          <a:xfrm>
            <a:off x="9715212" y="4803607"/>
            <a:ext cx="921600" cy="34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Montserrat Light"/>
              <a:buNone/>
              <a:tabLst/>
              <a:defRPr/>
            </a:pPr>
            <a: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  <a:t>QoD Provisioning</a:t>
            </a:r>
            <a:endParaRPr kumimoji="0" lang="en-US" sz="14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itchFamily="2" charset="77"/>
              <a:cs typeface="Montserrat Light"/>
              <a:sym typeface="Montserrat Light"/>
            </a:endParaRPr>
          </a:p>
        </p:txBody>
      </p:sp>
      <p:sp>
        <p:nvSpPr>
          <p:cNvPr id="61" name="Google Shape;292;p20">
            <a:extLst>
              <a:ext uri="{FF2B5EF4-FFF2-40B4-BE49-F238E27FC236}">
                <a16:creationId xmlns:a16="http://schemas.microsoft.com/office/drawing/2014/main" id="{EFADD028-AAA6-9CAB-F706-C09606E0F364}"/>
              </a:ext>
            </a:extLst>
          </p:cNvPr>
          <p:cNvSpPr txBox="1"/>
          <p:nvPr/>
        </p:nvSpPr>
        <p:spPr>
          <a:xfrm>
            <a:off x="782198" y="5732386"/>
            <a:ext cx="1690307" cy="34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Montserrat Light"/>
              <a:buNone/>
              <a:tabLst/>
              <a:defRPr/>
            </a:pPr>
            <a:r>
              <a:rPr lang="en-US" sz="1100" b="1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  <a:t>Connectivity Insights </a:t>
            </a:r>
            <a:r>
              <a:rPr lang="en-US" sz="1100" b="0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  <a:t>Subscriptions</a:t>
            </a:r>
            <a:endParaRPr kumimoji="0" lang="en-US" sz="1400" b="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 Light" panose="00000400000000000000" pitchFamily="2" charset="0"/>
              <a:cs typeface="Montserrat Light"/>
              <a:sym typeface="Montserrat Light"/>
            </a:endParaRPr>
          </a:p>
        </p:txBody>
      </p:sp>
      <p:sp>
        <p:nvSpPr>
          <p:cNvPr id="62" name="Google Shape;293;p20">
            <a:extLst>
              <a:ext uri="{FF2B5EF4-FFF2-40B4-BE49-F238E27FC236}">
                <a16:creationId xmlns:a16="http://schemas.microsoft.com/office/drawing/2014/main" id="{8956C84D-1880-EFE8-074D-625E06523BEF}"/>
              </a:ext>
            </a:extLst>
          </p:cNvPr>
          <p:cNvSpPr txBox="1"/>
          <p:nvPr/>
        </p:nvSpPr>
        <p:spPr>
          <a:xfrm>
            <a:off x="2971581" y="5732386"/>
            <a:ext cx="1579973" cy="34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Montserrat Light"/>
              <a:buNone/>
              <a:tabLst/>
              <a:defRPr/>
            </a:pPr>
            <a:r>
              <a:rPr lang="en-US" sz="1100" b="1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  <a:t>Device Reachability </a:t>
            </a:r>
            <a:r>
              <a:rPr lang="en-US" sz="1100" b="0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  <a:t>Status Subscriptions</a:t>
            </a:r>
            <a:endParaRPr kumimoji="0" lang="en-US" sz="1400" b="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 Light" panose="00000400000000000000" pitchFamily="2" charset="0"/>
              <a:cs typeface="Montserrat Light"/>
              <a:sym typeface="Montserrat Light"/>
            </a:endParaRPr>
          </a:p>
        </p:txBody>
      </p:sp>
      <p:sp>
        <p:nvSpPr>
          <p:cNvPr id="51" name="Google Shape;282;p20">
            <a:extLst>
              <a:ext uri="{FF2B5EF4-FFF2-40B4-BE49-F238E27FC236}">
                <a16:creationId xmlns:a16="http://schemas.microsoft.com/office/drawing/2014/main" id="{265CAE49-BEF8-CECC-7D0A-40618B0AFD87}"/>
              </a:ext>
            </a:extLst>
          </p:cNvPr>
          <p:cNvSpPr txBox="1"/>
          <p:nvPr/>
        </p:nvSpPr>
        <p:spPr>
          <a:xfrm>
            <a:off x="8002532" y="4803607"/>
            <a:ext cx="1008714" cy="3489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Montserrat Light"/>
              <a:buNone/>
              <a:tabLst/>
              <a:defRPr/>
            </a:pPr>
            <a: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  <a:t>Population </a:t>
            </a:r>
            <a:b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</a:br>
            <a: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  <a:t>Density Data</a:t>
            </a:r>
            <a:endParaRPr kumimoji="0" lang="en-US" sz="14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itchFamily="2" charset="77"/>
              <a:cs typeface="Montserrat Light"/>
              <a:sym typeface="Montserrat Light"/>
            </a:endParaRPr>
          </a:p>
        </p:txBody>
      </p:sp>
      <p:sp>
        <p:nvSpPr>
          <p:cNvPr id="73" name="Google Shape;291;p20">
            <a:extLst>
              <a:ext uri="{FF2B5EF4-FFF2-40B4-BE49-F238E27FC236}">
                <a16:creationId xmlns:a16="http://schemas.microsoft.com/office/drawing/2014/main" id="{26079A6A-DA67-26C5-34E0-BC6ADB678D47}"/>
              </a:ext>
            </a:extLst>
          </p:cNvPr>
          <p:cNvSpPr txBox="1"/>
          <p:nvPr/>
        </p:nvSpPr>
        <p:spPr>
          <a:xfrm>
            <a:off x="5184539" y="5732386"/>
            <a:ext cx="1561613" cy="34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Montserrat Light"/>
              <a:buNone/>
              <a:tabLst/>
              <a:defRPr/>
            </a:pPr>
            <a:r>
              <a:rPr lang="en-US" sz="1100" b="1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  <a:t>Device Roaming </a:t>
            </a:r>
            <a:r>
              <a:rPr lang="en-US" sz="1100" b="0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  <a:t>Status Subscriptions</a:t>
            </a:r>
            <a:endParaRPr kumimoji="0" lang="en-US" sz="1400" b="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 Light" panose="00000400000000000000" pitchFamily="2" charset="0"/>
              <a:cs typeface="Montserrat Light"/>
              <a:sym typeface="Montserrat Light"/>
            </a:endParaRPr>
          </a:p>
        </p:txBody>
      </p:sp>
      <p:sp>
        <p:nvSpPr>
          <p:cNvPr id="74" name="Google Shape;291;p20">
            <a:extLst>
              <a:ext uri="{FF2B5EF4-FFF2-40B4-BE49-F238E27FC236}">
                <a16:creationId xmlns:a16="http://schemas.microsoft.com/office/drawing/2014/main" id="{F0AAB509-34AF-2E8F-480A-285702B3FD7F}"/>
              </a:ext>
            </a:extLst>
          </p:cNvPr>
          <p:cNvSpPr txBox="1"/>
          <p:nvPr/>
        </p:nvSpPr>
        <p:spPr>
          <a:xfrm>
            <a:off x="9145811" y="5732386"/>
            <a:ext cx="1065158" cy="34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Montserrat Light"/>
              <a:buNone/>
              <a:tabLst/>
              <a:defRPr/>
            </a:pPr>
            <a:r>
              <a:rPr lang="en-US" sz="1100" b="1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  <a:t>SIM Swap </a:t>
            </a:r>
            <a:r>
              <a:rPr lang="en-US" sz="1100" b="0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  <a:t>Subscriptions</a:t>
            </a:r>
            <a:endParaRPr kumimoji="0" lang="en-US" sz="1400" b="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 Light" panose="00000400000000000000" pitchFamily="2" charset="0"/>
              <a:cs typeface="Montserrat Light"/>
              <a:sym typeface="Montserrat Light"/>
            </a:endParaRPr>
          </a:p>
        </p:txBody>
      </p:sp>
      <p:grpSp>
        <p:nvGrpSpPr>
          <p:cNvPr id="81" name="Group 80">
            <a:extLst>
              <a:ext uri="{FF2B5EF4-FFF2-40B4-BE49-F238E27FC236}">
                <a16:creationId xmlns:a16="http://schemas.microsoft.com/office/drawing/2014/main" id="{CD3381F4-425F-DE49-1EE3-8126B4FD2A52}"/>
              </a:ext>
            </a:extLst>
          </p:cNvPr>
          <p:cNvGrpSpPr/>
          <p:nvPr/>
        </p:nvGrpSpPr>
        <p:grpSpPr>
          <a:xfrm>
            <a:off x="8007486" y="2413823"/>
            <a:ext cx="1587547" cy="835202"/>
            <a:chOff x="3979031" y="2259636"/>
            <a:chExt cx="1587547" cy="835202"/>
          </a:xfrm>
        </p:grpSpPr>
        <p:sp>
          <p:nvSpPr>
            <p:cNvPr id="82" name="Google Shape;246;p20">
              <a:extLst>
                <a:ext uri="{FF2B5EF4-FFF2-40B4-BE49-F238E27FC236}">
                  <a16:creationId xmlns:a16="http://schemas.microsoft.com/office/drawing/2014/main" id="{376FF400-09A0-04E6-4B16-6274F387824E}"/>
                </a:ext>
              </a:extLst>
            </p:cNvPr>
            <p:cNvSpPr txBox="1"/>
            <p:nvPr/>
          </p:nvSpPr>
          <p:spPr>
            <a:xfrm>
              <a:off x="3979031" y="2745938"/>
              <a:ext cx="1587547" cy="348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Montserrat Light"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Device </a:t>
              </a:r>
              <a:b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</a:b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Reachability Status</a:t>
              </a:r>
              <a:br>
                <a:rPr kumimoji="0" lang="en-US" sz="1100" b="0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 Light" panose="00000400000000000000" pitchFamily="2" charset="0"/>
                  <a:ea typeface="Montserrat Light"/>
                  <a:cs typeface="Montserrat Light"/>
                  <a:sym typeface="Montserrat Light"/>
                </a:rPr>
              </a:br>
              <a:endParaRPr kumimoji="0" lang="en-US" sz="14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cs typeface="Montserrat Light"/>
                <a:sym typeface="Montserrat Light"/>
              </a:endParaRPr>
            </a:p>
          </p:txBody>
        </p:sp>
        <p:grpSp>
          <p:nvGrpSpPr>
            <p:cNvPr id="83" name="Google Shape;265;p20">
              <a:extLst>
                <a:ext uri="{FF2B5EF4-FFF2-40B4-BE49-F238E27FC236}">
                  <a16:creationId xmlns:a16="http://schemas.microsoft.com/office/drawing/2014/main" id="{1EACBF03-65B9-891C-66B9-BBEE2F46AF68}"/>
                </a:ext>
              </a:extLst>
            </p:cNvPr>
            <p:cNvGrpSpPr/>
            <p:nvPr/>
          </p:nvGrpSpPr>
          <p:grpSpPr>
            <a:xfrm>
              <a:off x="4505947" y="2259636"/>
              <a:ext cx="483063" cy="483063"/>
              <a:chOff x="8745646" y="112631"/>
              <a:chExt cx="483063" cy="483063"/>
            </a:xfrm>
          </p:grpSpPr>
          <p:pic>
            <p:nvPicPr>
              <p:cNvPr id="84" name="Google Shape;266;p20" descr="Smart Phone outline">
                <a:extLst>
                  <a:ext uri="{FF2B5EF4-FFF2-40B4-BE49-F238E27FC236}">
                    <a16:creationId xmlns:a16="http://schemas.microsoft.com/office/drawing/2014/main" id="{F360201A-C64D-B2DB-B542-EF5A2F71AAAC}"/>
                  </a:ext>
                </a:extLst>
              </p:cNvPr>
              <p:cNvPicPr preferRelativeResize="0"/>
              <p:nvPr/>
            </p:nvPicPr>
            <p:blipFill rotWithShape="1">
              <a:blip r:embed="rId10">
                <a:alphaModFix/>
              </a:blip>
              <a:srcRect/>
              <a:stretch/>
            </p:blipFill>
            <p:spPr>
              <a:xfrm>
                <a:off x="8745646" y="112631"/>
                <a:ext cx="483063" cy="483063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85" name="Google Shape;267;p20" descr="World outline">
                <a:extLst>
                  <a:ext uri="{FF2B5EF4-FFF2-40B4-BE49-F238E27FC236}">
                    <a16:creationId xmlns:a16="http://schemas.microsoft.com/office/drawing/2014/main" id="{A0F7F4CF-575C-0251-4FA4-4ED2CF65CAA2}"/>
                  </a:ext>
                </a:extLst>
              </p:cNvPr>
              <p:cNvPicPr preferRelativeResize="0"/>
              <p:nvPr/>
            </p:nvPicPr>
            <p:blipFill rotWithShape="1">
              <a:blip r:embed="rId11">
                <a:alphaModFix/>
              </a:blip>
              <a:srcRect/>
              <a:stretch/>
            </p:blipFill>
            <p:spPr>
              <a:xfrm rot="1645624" flipH="1">
                <a:off x="8883107" y="261061"/>
                <a:ext cx="189144" cy="189144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sp>
        <p:nvSpPr>
          <p:cNvPr id="103" name="Google Shape;248;p20">
            <a:extLst>
              <a:ext uri="{FF2B5EF4-FFF2-40B4-BE49-F238E27FC236}">
                <a16:creationId xmlns:a16="http://schemas.microsoft.com/office/drawing/2014/main" id="{6DB7207C-3612-DF76-63C2-F2909FDCE771}"/>
              </a:ext>
            </a:extLst>
          </p:cNvPr>
          <p:cNvSpPr txBox="1"/>
          <p:nvPr/>
        </p:nvSpPr>
        <p:spPr>
          <a:xfrm>
            <a:off x="4271676" y="4803607"/>
            <a:ext cx="1212692" cy="34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Montserrat Light"/>
              <a:buNone/>
              <a:tabLst/>
              <a:defRPr/>
            </a:pPr>
            <a: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  <a:t>Carrier </a:t>
            </a:r>
            <a:b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</a:br>
            <a: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  <a:t>Billing Refund</a:t>
            </a:r>
            <a:endParaRPr kumimoji="0" lang="en-US" sz="14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itchFamily="2" charset="77"/>
              <a:cs typeface="Montserrat Light"/>
              <a:sym typeface="Montserrat Light"/>
            </a:endParaRPr>
          </a:p>
        </p:txBody>
      </p:sp>
      <p:sp>
        <p:nvSpPr>
          <p:cNvPr id="105" name="Google Shape;286;p20">
            <a:extLst>
              <a:ext uri="{FF2B5EF4-FFF2-40B4-BE49-F238E27FC236}">
                <a16:creationId xmlns:a16="http://schemas.microsoft.com/office/drawing/2014/main" id="{C3052D91-DCEC-1434-5A07-C542C73044C1}"/>
              </a:ext>
            </a:extLst>
          </p:cNvPr>
          <p:cNvSpPr txBox="1"/>
          <p:nvPr/>
        </p:nvSpPr>
        <p:spPr>
          <a:xfrm>
            <a:off x="643812" y="4803607"/>
            <a:ext cx="921600" cy="34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Montserrat Light"/>
              <a:buNone/>
              <a:tabLst/>
              <a:defRPr/>
            </a:pPr>
            <a: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  <a:t>Application Profiles</a:t>
            </a:r>
          </a:p>
        </p:txBody>
      </p:sp>
      <p:sp>
        <p:nvSpPr>
          <p:cNvPr id="112" name="Google Shape;235;p20">
            <a:extLst>
              <a:ext uri="{FF2B5EF4-FFF2-40B4-BE49-F238E27FC236}">
                <a16:creationId xmlns:a16="http://schemas.microsoft.com/office/drawing/2014/main" id="{055DD645-212E-1B41-DB5F-1B0B69D3040E}"/>
              </a:ext>
            </a:extLst>
          </p:cNvPr>
          <p:cNvSpPr/>
          <p:nvPr/>
        </p:nvSpPr>
        <p:spPr>
          <a:xfrm>
            <a:off x="4934440" y="1763263"/>
            <a:ext cx="6402661" cy="2559166"/>
          </a:xfrm>
          <a:prstGeom prst="roundRect">
            <a:avLst>
              <a:gd name="adj" fmla="val 5074"/>
            </a:avLst>
          </a:prstGeom>
          <a:noFill/>
          <a:ln w="127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72000" tIns="0" rIns="72000" bIns="7200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Montserrat Light"/>
              <a:buNone/>
              <a:tabLst/>
              <a:defRPr/>
            </a:pPr>
            <a:r>
              <a:rPr kumimoji="0" lang="en-US" sz="16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Updated </a:t>
            </a:r>
            <a:r>
              <a:rPr lang="en-US" sz="1600" kern="0" dirty="0">
                <a:solidFill>
                  <a:srgbClr val="000000"/>
                </a:solidFill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i</a:t>
            </a:r>
            <a:r>
              <a:rPr kumimoji="0" lang="en-US" sz="16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nitial CAMARA APIs (v0.y.z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Montserrat Light"/>
              <a:buNone/>
              <a:tabLst/>
              <a:defRPr/>
            </a:pPr>
            <a:r>
              <a:rPr kumimoji="0" lang="en-US" sz="14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Previous versions launched in at least one market</a:t>
            </a:r>
            <a:r>
              <a:rPr kumimoji="0" lang="en-US" sz="1400" b="0" i="0" u="none" strike="noStrike" kern="0" cap="none" spc="0" normalizeH="0" baseline="3000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1</a:t>
            </a:r>
            <a:endParaRPr kumimoji="0" lang="en-US" sz="1400" b="0" i="0" u="none" strike="noStrike" kern="0" cap="none" spc="0" normalizeH="0" baseline="3000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 Light" panose="00000400000000000000" pitchFamily="2" charset="0"/>
              <a:cs typeface="Montserrat Light"/>
              <a:sym typeface="Montserrat Light"/>
            </a:endParaRPr>
          </a:p>
        </p:txBody>
      </p:sp>
      <p:sp>
        <p:nvSpPr>
          <p:cNvPr id="114" name="Google Shape;274;p20">
            <a:extLst>
              <a:ext uri="{FF2B5EF4-FFF2-40B4-BE49-F238E27FC236}">
                <a16:creationId xmlns:a16="http://schemas.microsoft.com/office/drawing/2014/main" id="{5328F1DA-6D9C-E513-B8DE-E3BE84B810E4}"/>
              </a:ext>
            </a:extLst>
          </p:cNvPr>
          <p:cNvSpPr txBox="1"/>
          <p:nvPr/>
        </p:nvSpPr>
        <p:spPr>
          <a:xfrm>
            <a:off x="180993" y="6231138"/>
            <a:ext cx="7012742" cy="222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Montserrat Light"/>
              <a:buNone/>
              <a:tabLst/>
              <a:defRPr/>
            </a:pPr>
            <a:r>
              <a:rPr kumimoji="0" lang="en-US" sz="8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1 Source: </a:t>
            </a:r>
            <a:r>
              <a:rPr kumimoji="0" lang="en-US" sz="8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  <a:hlinkClick r:id="rId13"/>
              </a:rPr>
              <a:t>https://www.open-gateway.com/operators-map</a:t>
            </a:r>
            <a:r>
              <a:rPr kumimoji="0" lang="en-US" sz="8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 and </a:t>
            </a:r>
            <a:r>
              <a:rPr kumimoji="0" lang="en-US" sz="8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  <a:hlinkClick r:id="rId14"/>
              </a:rPr>
              <a:t>https://wiki.camaraproject.org/display/CAM/Meta-release+Fall24</a:t>
            </a:r>
            <a:r>
              <a:rPr kumimoji="0" lang="en-US" sz="8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 </a:t>
            </a:r>
            <a:endParaRPr kumimoji="0" lang="en-US" sz="800" b="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 Light" panose="00000400000000000000" pitchFamily="2" charset="0"/>
              <a:cs typeface="Montserrat Light"/>
              <a:sym typeface="Montserrat Light"/>
            </a:endParaRPr>
          </a:p>
        </p:txBody>
      </p:sp>
      <p:grpSp>
        <p:nvGrpSpPr>
          <p:cNvPr id="91" name="Group 90">
            <a:extLst>
              <a:ext uri="{FF2B5EF4-FFF2-40B4-BE49-F238E27FC236}">
                <a16:creationId xmlns:a16="http://schemas.microsoft.com/office/drawing/2014/main" id="{4D8CAE20-50CC-93EC-5989-4D2CEA6B19B1}"/>
              </a:ext>
            </a:extLst>
          </p:cNvPr>
          <p:cNvGrpSpPr/>
          <p:nvPr/>
        </p:nvGrpSpPr>
        <p:grpSpPr>
          <a:xfrm>
            <a:off x="10193612" y="3445821"/>
            <a:ext cx="933450" cy="827576"/>
            <a:chOff x="5302204" y="2304219"/>
            <a:chExt cx="933450" cy="827576"/>
          </a:xfrm>
        </p:grpSpPr>
        <p:sp>
          <p:nvSpPr>
            <p:cNvPr id="12" name="Google Shape;243;p20">
              <a:extLst>
                <a:ext uri="{FF2B5EF4-FFF2-40B4-BE49-F238E27FC236}">
                  <a16:creationId xmlns:a16="http://schemas.microsoft.com/office/drawing/2014/main" id="{A88111F9-C632-77BE-D828-D2D7A74D9352}"/>
                </a:ext>
              </a:extLst>
            </p:cNvPr>
            <p:cNvSpPr txBox="1"/>
            <p:nvPr/>
          </p:nvSpPr>
          <p:spPr>
            <a:xfrm>
              <a:off x="5302204" y="2782895"/>
              <a:ext cx="933450" cy="348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Montserrat Light"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Quality on </a:t>
              </a:r>
              <a:b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</a:b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Demand </a:t>
              </a:r>
              <a:endPara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Montserrat Light"/>
                <a:sym typeface="Montserrat Light"/>
              </a:endParaRPr>
            </a:p>
          </p:txBody>
        </p:sp>
        <p:pic>
          <p:nvPicPr>
            <p:cNvPr id="25" name="Google Shape;256;p20">
              <a:extLst>
                <a:ext uri="{FF2B5EF4-FFF2-40B4-BE49-F238E27FC236}">
                  <a16:creationId xmlns:a16="http://schemas.microsoft.com/office/drawing/2014/main" id="{232431B5-E3A7-D5CD-F721-FE58B4797ED9}"/>
                </a:ext>
              </a:extLst>
            </p:cNvPr>
            <p:cNvPicPr preferRelativeResize="0"/>
            <p:nvPr/>
          </p:nvPicPr>
          <p:blipFill rotWithShape="1">
            <a:blip r:embed="rId15">
              <a:alphaModFix/>
            </a:blip>
            <a:srcRect/>
            <a:stretch/>
          </p:blipFill>
          <p:spPr>
            <a:xfrm>
              <a:off x="5559871" y="2304219"/>
              <a:ext cx="316548" cy="430174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31374D2A-BB49-FD61-6260-BAFEE19DE265}"/>
              </a:ext>
            </a:extLst>
          </p:cNvPr>
          <p:cNvGrpSpPr/>
          <p:nvPr/>
        </p:nvGrpSpPr>
        <p:grpSpPr>
          <a:xfrm>
            <a:off x="7389586" y="3488975"/>
            <a:ext cx="1164358" cy="784422"/>
            <a:chOff x="6152666" y="2331686"/>
            <a:chExt cx="1164358" cy="784422"/>
          </a:xfrm>
        </p:grpSpPr>
        <p:sp>
          <p:nvSpPr>
            <p:cNvPr id="13" name="Google Shape;244;p20">
              <a:extLst>
                <a:ext uri="{FF2B5EF4-FFF2-40B4-BE49-F238E27FC236}">
                  <a16:creationId xmlns:a16="http://schemas.microsoft.com/office/drawing/2014/main" id="{441C4749-3BC1-10F3-B046-5EB7E1A96BC8}"/>
                </a:ext>
              </a:extLst>
            </p:cNvPr>
            <p:cNvSpPr txBox="1"/>
            <p:nvPr/>
          </p:nvSpPr>
          <p:spPr>
            <a:xfrm>
              <a:off x="6152666" y="2767208"/>
              <a:ext cx="1164358" cy="348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Montserrat Light"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Home </a:t>
              </a:r>
              <a:b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</a:b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Devices</a:t>
              </a:r>
              <a:r>
                <a:rPr lang="en-US" sz="1100" b="1" kern="0" dirty="0">
                  <a:solidFill>
                    <a:srgbClr val="000000"/>
                  </a:solidFill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 </a:t>
              </a: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QoD</a:t>
              </a:r>
              <a:endPara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Montserrat Light"/>
                <a:sym typeface="Montserrat Light"/>
              </a:endParaRPr>
            </a:p>
          </p:txBody>
        </p:sp>
        <p:grpSp>
          <p:nvGrpSpPr>
            <p:cNvPr id="26" name="Google Shape;257;p20">
              <a:extLst>
                <a:ext uri="{FF2B5EF4-FFF2-40B4-BE49-F238E27FC236}">
                  <a16:creationId xmlns:a16="http://schemas.microsoft.com/office/drawing/2014/main" id="{A1E38F4A-AF99-7057-0842-FC15761A741C}"/>
                </a:ext>
              </a:extLst>
            </p:cNvPr>
            <p:cNvGrpSpPr/>
            <p:nvPr/>
          </p:nvGrpSpPr>
          <p:grpSpPr>
            <a:xfrm>
              <a:off x="6491819" y="2331686"/>
              <a:ext cx="447453" cy="402561"/>
              <a:chOff x="10498363" y="196296"/>
              <a:chExt cx="789298" cy="699134"/>
            </a:xfrm>
          </p:grpSpPr>
          <p:sp>
            <p:nvSpPr>
              <p:cNvPr id="27" name="Google Shape;258;p20">
                <a:extLst>
                  <a:ext uri="{FF2B5EF4-FFF2-40B4-BE49-F238E27FC236}">
                    <a16:creationId xmlns:a16="http://schemas.microsoft.com/office/drawing/2014/main" id="{EE1306E5-3EDF-7601-8D70-5432674E9812}"/>
                  </a:ext>
                </a:extLst>
              </p:cNvPr>
              <p:cNvSpPr/>
              <p:nvPr/>
            </p:nvSpPr>
            <p:spPr>
              <a:xfrm>
                <a:off x="10498363" y="196296"/>
                <a:ext cx="789298" cy="699134"/>
              </a:xfrm>
              <a:custGeom>
                <a:avLst/>
                <a:gdLst/>
                <a:ahLst/>
                <a:cxnLst/>
                <a:rect l="l" t="t" r="r" b="b"/>
                <a:pathLst>
                  <a:path w="789298" h="699134" extrusionOk="0">
                    <a:moveTo>
                      <a:pt x="789299" y="374885"/>
                    </a:moveTo>
                    <a:lnTo>
                      <a:pt x="394649" y="0"/>
                    </a:lnTo>
                    <a:lnTo>
                      <a:pt x="0" y="374885"/>
                    </a:lnTo>
                    <a:lnTo>
                      <a:pt x="61808" y="436683"/>
                    </a:lnTo>
                    <a:lnTo>
                      <a:pt x="108899" y="392087"/>
                    </a:lnTo>
                    <a:lnTo>
                      <a:pt x="108899" y="698906"/>
                    </a:lnTo>
                    <a:lnTo>
                      <a:pt x="680399" y="699135"/>
                    </a:lnTo>
                    <a:lnTo>
                      <a:pt x="680399" y="391687"/>
                    </a:lnTo>
                    <a:lnTo>
                      <a:pt x="727729" y="436455"/>
                    </a:lnTo>
                    <a:close/>
                    <a:moveTo>
                      <a:pt x="661349" y="680085"/>
                    </a:moveTo>
                    <a:lnTo>
                      <a:pt x="127949" y="679866"/>
                    </a:lnTo>
                    <a:lnTo>
                      <a:pt x="127949" y="374047"/>
                    </a:lnTo>
                    <a:lnTo>
                      <a:pt x="394649" y="121482"/>
                    </a:lnTo>
                    <a:lnTo>
                      <a:pt x="661349" y="373675"/>
                    </a:lnTo>
                    <a:close/>
                    <a:moveTo>
                      <a:pt x="62160" y="410108"/>
                    </a:moveTo>
                    <a:lnTo>
                      <a:pt x="27299" y="375285"/>
                    </a:lnTo>
                    <a:lnTo>
                      <a:pt x="394649" y="26251"/>
                    </a:lnTo>
                    <a:lnTo>
                      <a:pt x="762000" y="375285"/>
                    </a:lnTo>
                    <a:lnTo>
                      <a:pt x="727358" y="409880"/>
                    </a:lnTo>
                    <a:lnTo>
                      <a:pt x="394649" y="9525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Montserrat Light"/>
                  <a:buNone/>
                  <a:tabLst/>
                  <a:defRPr/>
                </a:pPr>
                <a:endParaRPr kumimoji="0" lang="en-US" sz="1800" b="0" i="0" u="none" strike="noStrike" kern="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 Light" panose="00000400000000000000" pitchFamily="2" charset="0"/>
                  <a:ea typeface="Montserrat Light"/>
                  <a:cs typeface="Montserrat Light"/>
                  <a:sym typeface="Montserrat Light"/>
                </a:endParaRPr>
              </a:p>
            </p:txBody>
          </p:sp>
          <p:pic>
            <p:nvPicPr>
              <p:cNvPr id="28" name="Google Shape;259;p20">
                <a:extLst>
                  <a:ext uri="{FF2B5EF4-FFF2-40B4-BE49-F238E27FC236}">
                    <a16:creationId xmlns:a16="http://schemas.microsoft.com/office/drawing/2014/main" id="{28865C7D-8C31-A660-1150-B967D1C04ADF}"/>
                  </a:ext>
                </a:extLst>
              </p:cNvPr>
              <p:cNvPicPr preferRelativeResize="0"/>
              <p:nvPr/>
            </p:nvPicPr>
            <p:blipFill rotWithShape="1">
              <a:blip r:embed="rId15">
                <a:alphaModFix/>
              </a:blip>
              <a:srcRect/>
              <a:stretch/>
            </p:blipFill>
            <p:spPr>
              <a:xfrm>
                <a:off x="10774653" y="514538"/>
                <a:ext cx="236718" cy="321689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grpSp>
        <p:nvGrpSpPr>
          <p:cNvPr id="96" name="Group 95">
            <a:extLst>
              <a:ext uri="{FF2B5EF4-FFF2-40B4-BE49-F238E27FC236}">
                <a16:creationId xmlns:a16="http://schemas.microsoft.com/office/drawing/2014/main" id="{B14E5A88-11AC-A164-840D-7CD0C8B939D3}"/>
              </a:ext>
            </a:extLst>
          </p:cNvPr>
          <p:cNvGrpSpPr/>
          <p:nvPr/>
        </p:nvGrpSpPr>
        <p:grpSpPr>
          <a:xfrm>
            <a:off x="6176254" y="3496069"/>
            <a:ext cx="914400" cy="777328"/>
            <a:chOff x="3294172" y="2331692"/>
            <a:chExt cx="914400" cy="777328"/>
          </a:xfrm>
        </p:grpSpPr>
        <p:sp>
          <p:nvSpPr>
            <p:cNvPr id="97" name="Google Shape;240;p20">
              <a:extLst>
                <a:ext uri="{FF2B5EF4-FFF2-40B4-BE49-F238E27FC236}">
                  <a16:creationId xmlns:a16="http://schemas.microsoft.com/office/drawing/2014/main" id="{ED74059F-49B6-73A4-1E98-5BF20B19A212}"/>
                </a:ext>
              </a:extLst>
            </p:cNvPr>
            <p:cNvSpPr txBox="1"/>
            <p:nvPr/>
          </p:nvSpPr>
          <p:spPr>
            <a:xfrm>
              <a:off x="3294172" y="2760120"/>
              <a:ext cx="914400" cy="348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Montserrat Light"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Location</a:t>
              </a:r>
              <a:b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</a:b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Retrieval</a:t>
              </a:r>
              <a:endPara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Montserrat Light"/>
                <a:sym typeface="Montserrat Light"/>
              </a:endParaRPr>
            </a:p>
          </p:txBody>
        </p:sp>
        <p:grpSp>
          <p:nvGrpSpPr>
            <p:cNvPr id="98" name="Google Shape;252;p20">
              <a:extLst>
                <a:ext uri="{FF2B5EF4-FFF2-40B4-BE49-F238E27FC236}">
                  <a16:creationId xmlns:a16="http://schemas.microsoft.com/office/drawing/2014/main" id="{E5B1D90C-7E2F-68B1-692D-24989C1AFBB9}"/>
                </a:ext>
              </a:extLst>
            </p:cNvPr>
            <p:cNvGrpSpPr/>
            <p:nvPr/>
          </p:nvGrpSpPr>
          <p:grpSpPr>
            <a:xfrm>
              <a:off x="3508850" y="2331692"/>
              <a:ext cx="450128" cy="398464"/>
              <a:chOff x="110067" y="275988"/>
              <a:chExt cx="533453" cy="745490"/>
            </a:xfrm>
          </p:grpSpPr>
          <p:sp>
            <p:nvSpPr>
              <p:cNvPr id="99" name="Google Shape;253;p20">
                <a:extLst>
                  <a:ext uri="{FF2B5EF4-FFF2-40B4-BE49-F238E27FC236}">
                    <a16:creationId xmlns:a16="http://schemas.microsoft.com/office/drawing/2014/main" id="{2C637BC3-BA10-1A07-01E7-9F28C1366D3E}"/>
                  </a:ext>
                </a:extLst>
              </p:cNvPr>
              <p:cNvSpPr/>
              <p:nvPr/>
            </p:nvSpPr>
            <p:spPr>
              <a:xfrm>
                <a:off x="110067" y="747073"/>
                <a:ext cx="533453" cy="274405"/>
              </a:xfrm>
              <a:prstGeom prst="ellipse">
                <a:avLst/>
              </a:prstGeom>
              <a:noFill/>
              <a:ln w="19050" cap="flat" cmpd="sng">
                <a:solidFill>
                  <a:schemeClr val="dk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Montserrat Light"/>
                  <a:buNone/>
                  <a:tabLst/>
                  <a:defRPr/>
                </a:pPr>
                <a:endParaRPr kumimoji="0" lang="en-US" sz="1800" b="0" i="0" u="none" strike="noStrike" kern="0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ontserrat Light" panose="00000400000000000000" pitchFamily="2" charset="0"/>
                  <a:ea typeface="Montserrat Light"/>
                  <a:cs typeface="Montserrat Light"/>
                  <a:sym typeface="Montserrat Light"/>
                </a:endParaRPr>
              </a:p>
            </p:txBody>
          </p:sp>
          <p:sp>
            <p:nvSpPr>
              <p:cNvPr id="100" name="Google Shape;254;p20">
                <a:extLst>
                  <a:ext uri="{FF2B5EF4-FFF2-40B4-BE49-F238E27FC236}">
                    <a16:creationId xmlns:a16="http://schemas.microsoft.com/office/drawing/2014/main" id="{5936E414-1C8C-5C95-DA0D-DD5E2F485BCE}"/>
                  </a:ext>
                </a:extLst>
              </p:cNvPr>
              <p:cNvSpPr/>
              <p:nvPr/>
            </p:nvSpPr>
            <p:spPr>
              <a:xfrm>
                <a:off x="290399" y="438738"/>
                <a:ext cx="184745" cy="165331"/>
              </a:xfrm>
              <a:custGeom>
                <a:avLst/>
                <a:gdLst/>
                <a:ahLst/>
                <a:cxnLst/>
                <a:rect l="l" t="t" r="r" b="b"/>
                <a:pathLst>
                  <a:path w="131122" h="89623" extrusionOk="0">
                    <a:moveTo>
                      <a:pt x="6630" y="34860"/>
                    </a:moveTo>
                    <a:lnTo>
                      <a:pt x="0" y="41490"/>
                    </a:lnTo>
                    <a:lnTo>
                      <a:pt x="48129" y="89623"/>
                    </a:lnTo>
                    <a:lnTo>
                      <a:pt x="131123" y="6630"/>
                    </a:lnTo>
                    <a:lnTo>
                      <a:pt x="124493" y="0"/>
                    </a:lnTo>
                    <a:lnTo>
                      <a:pt x="48129" y="76364"/>
                    </a:lnTo>
                    <a:lnTo>
                      <a:pt x="6630" y="3486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Montserrat Light"/>
                  <a:buNone/>
                  <a:tabLst/>
                  <a:defRPr/>
                </a:pPr>
                <a:endParaRPr kumimoji="0" lang="en-US" sz="1800" b="0" i="0" u="none" strike="noStrike" kern="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 Light" panose="00000400000000000000" pitchFamily="2" charset="0"/>
                  <a:ea typeface="Montserrat Light"/>
                  <a:cs typeface="Montserrat Light"/>
                  <a:sym typeface="Montserrat Light"/>
                </a:endParaRPr>
              </a:p>
            </p:txBody>
          </p:sp>
          <p:sp>
            <p:nvSpPr>
              <p:cNvPr id="101" name="Google Shape;255;p20">
                <a:extLst>
                  <a:ext uri="{FF2B5EF4-FFF2-40B4-BE49-F238E27FC236}">
                    <a16:creationId xmlns:a16="http://schemas.microsoft.com/office/drawing/2014/main" id="{6594B052-0168-9826-8B9D-056C12408CEE}"/>
                  </a:ext>
                </a:extLst>
              </p:cNvPr>
              <p:cNvSpPr/>
              <p:nvPr/>
            </p:nvSpPr>
            <p:spPr>
              <a:xfrm>
                <a:off x="186756" y="275988"/>
                <a:ext cx="398839" cy="647794"/>
              </a:xfrm>
              <a:custGeom>
                <a:avLst/>
                <a:gdLst/>
                <a:ahLst/>
                <a:cxnLst/>
                <a:rect l="l" t="t" r="r" b="b"/>
                <a:pathLst>
                  <a:path w="398839" h="647794" extrusionOk="0">
                    <a:moveTo>
                      <a:pt x="199424" y="0"/>
                    </a:moveTo>
                    <a:cubicBezTo>
                      <a:pt x="133326" y="-74"/>
                      <a:pt x="71535" y="32786"/>
                      <a:pt x="34642" y="87630"/>
                    </a:cubicBezTo>
                    <a:cubicBezTo>
                      <a:pt x="-2447" y="142353"/>
                      <a:pt x="-10280" y="211806"/>
                      <a:pt x="13687" y="273415"/>
                    </a:cubicBezTo>
                    <a:lnTo>
                      <a:pt x="104174" y="473497"/>
                    </a:lnTo>
                    <a:lnTo>
                      <a:pt x="182279" y="637327"/>
                    </a:lnTo>
                    <a:cubicBezTo>
                      <a:pt x="187147" y="646796"/>
                      <a:pt x="198771" y="650525"/>
                      <a:pt x="208240" y="645657"/>
                    </a:cubicBezTo>
                    <a:cubicBezTo>
                      <a:pt x="211817" y="643818"/>
                      <a:pt x="214730" y="640905"/>
                      <a:pt x="216569" y="637327"/>
                    </a:cubicBezTo>
                    <a:lnTo>
                      <a:pt x="294674" y="473497"/>
                    </a:lnTo>
                    <a:lnTo>
                      <a:pt x="385162" y="273415"/>
                    </a:lnTo>
                    <a:cubicBezTo>
                      <a:pt x="409117" y="211820"/>
                      <a:pt x="401283" y="142387"/>
                      <a:pt x="364207" y="87678"/>
                    </a:cubicBezTo>
                    <a:cubicBezTo>
                      <a:pt x="327324" y="32816"/>
                      <a:pt x="265531" y="-63"/>
                      <a:pt x="199424" y="0"/>
                    </a:cubicBezTo>
                    <a:close/>
                    <a:moveTo>
                      <a:pt x="367578" y="266110"/>
                    </a:moveTo>
                    <a:lnTo>
                      <a:pt x="277482" y="465325"/>
                    </a:lnTo>
                    <a:lnTo>
                      <a:pt x="199548" y="628831"/>
                    </a:lnTo>
                    <a:lnTo>
                      <a:pt x="199291" y="628831"/>
                    </a:lnTo>
                    <a:lnTo>
                      <a:pt x="121519" y="465677"/>
                    </a:lnTo>
                    <a:lnTo>
                      <a:pt x="31260" y="266110"/>
                    </a:lnTo>
                    <a:cubicBezTo>
                      <a:pt x="9752" y="210405"/>
                      <a:pt x="16920" y="147694"/>
                      <a:pt x="50444" y="98279"/>
                    </a:cubicBezTo>
                    <a:cubicBezTo>
                      <a:pt x="105920" y="16000"/>
                      <a:pt x="217593" y="-5726"/>
                      <a:pt x="299872" y="49750"/>
                    </a:cubicBezTo>
                    <a:cubicBezTo>
                      <a:pt x="319061" y="62689"/>
                      <a:pt x="335570" y="79212"/>
                      <a:pt x="348490" y="98412"/>
                    </a:cubicBezTo>
                    <a:cubicBezTo>
                      <a:pt x="381948" y="147806"/>
                      <a:pt x="389079" y="210460"/>
                      <a:pt x="367578" y="266110"/>
                    </a:cubicBezTo>
                    <a:close/>
                  </a:path>
                </a:pathLst>
              </a:custGeom>
              <a:solidFill>
                <a:schemeClr val="dk1"/>
              </a:solidFill>
              <a:ln w="12700" cap="flat" cmpd="sng">
                <a:solidFill>
                  <a:schemeClr val="dk1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Montserrat Light"/>
                  <a:buNone/>
                  <a:tabLst/>
                  <a:defRPr/>
                </a:pPr>
                <a:endParaRPr kumimoji="0" lang="en-US" sz="1800" b="0" i="0" u="none" strike="noStrike" kern="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 Light" panose="00000400000000000000" pitchFamily="2" charset="0"/>
                  <a:ea typeface="Montserrat Light"/>
                  <a:cs typeface="Montserrat Light"/>
                  <a:sym typeface="Montserrat Light"/>
                </a:endParaRPr>
              </a:p>
            </p:txBody>
          </p:sp>
        </p:grpSp>
      </p:grp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5639D16C-2BBD-78F2-DC34-C0F8C52DCD5F}"/>
              </a:ext>
            </a:extLst>
          </p:cNvPr>
          <p:cNvGrpSpPr/>
          <p:nvPr/>
        </p:nvGrpSpPr>
        <p:grpSpPr>
          <a:xfrm>
            <a:off x="8852876" y="3465046"/>
            <a:ext cx="1041803" cy="808351"/>
            <a:chOff x="5217532" y="2304219"/>
            <a:chExt cx="1041803" cy="808351"/>
          </a:xfrm>
        </p:grpSpPr>
        <p:sp>
          <p:nvSpPr>
            <p:cNvPr id="107" name="Google Shape;243;p20">
              <a:extLst>
                <a:ext uri="{FF2B5EF4-FFF2-40B4-BE49-F238E27FC236}">
                  <a16:creationId xmlns:a16="http://schemas.microsoft.com/office/drawing/2014/main" id="{1692E457-392C-5A32-42D9-90CE330EEC4E}"/>
                </a:ext>
              </a:extLst>
            </p:cNvPr>
            <p:cNvSpPr txBox="1"/>
            <p:nvPr/>
          </p:nvSpPr>
          <p:spPr>
            <a:xfrm>
              <a:off x="5217532" y="2763670"/>
              <a:ext cx="1041803" cy="348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Montserrat Light"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QoS </a:t>
              </a:r>
              <a:b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</a:b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Profiles</a:t>
              </a:r>
              <a:endPara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Montserrat Light"/>
                <a:sym typeface="Montserrat Light"/>
              </a:endParaRPr>
            </a:p>
          </p:txBody>
        </p:sp>
        <p:pic>
          <p:nvPicPr>
            <p:cNvPr id="108" name="Google Shape;256;p20">
              <a:extLst>
                <a:ext uri="{FF2B5EF4-FFF2-40B4-BE49-F238E27FC236}">
                  <a16:creationId xmlns:a16="http://schemas.microsoft.com/office/drawing/2014/main" id="{56D5A794-879D-E906-52D0-76F8D8B702E2}"/>
                </a:ext>
              </a:extLst>
            </p:cNvPr>
            <p:cNvPicPr preferRelativeResize="0"/>
            <p:nvPr/>
          </p:nvPicPr>
          <p:blipFill rotWithShape="1">
            <a:blip r:embed="rId15">
              <a:alphaModFix/>
            </a:blip>
            <a:srcRect/>
            <a:stretch/>
          </p:blipFill>
          <p:spPr>
            <a:xfrm>
              <a:off x="5559871" y="2304219"/>
              <a:ext cx="316548" cy="430174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DF69FCD6-FFB2-90CE-0772-9F53CE4B45C5}"/>
              </a:ext>
            </a:extLst>
          </p:cNvPr>
          <p:cNvGrpSpPr/>
          <p:nvPr/>
        </p:nvGrpSpPr>
        <p:grpSpPr>
          <a:xfrm>
            <a:off x="5132654" y="3379858"/>
            <a:ext cx="744668" cy="893539"/>
            <a:chOff x="6426509" y="470715"/>
            <a:chExt cx="744668" cy="893539"/>
          </a:xfrm>
        </p:grpSpPr>
        <p:sp>
          <p:nvSpPr>
            <p:cNvPr id="119" name="Google Shape;241;p20">
              <a:extLst>
                <a:ext uri="{FF2B5EF4-FFF2-40B4-BE49-F238E27FC236}">
                  <a16:creationId xmlns:a16="http://schemas.microsoft.com/office/drawing/2014/main" id="{0CA1CC8C-D2B1-4BEC-3F63-11A0538B1FB2}"/>
                </a:ext>
              </a:extLst>
            </p:cNvPr>
            <p:cNvSpPr txBox="1"/>
            <p:nvPr/>
          </p:nvSpPr>
          <p:spPr>
            <a:xfrm>
              <a:off x="6426509" y="998910"/>
              <a:ext cx="744668" cy="36534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Montserrat Light"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KYC</a:t>
              </a:r>
              <a:r>
                <a:rPr kumimoji="0" lang="en-US" sz="1100" b="1" i="0" u="none" strike="noStrike" kern="0" cap="none" spc="0" normalizeH="0" baseline="3000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3</a:t>
              </a:r>
              <a:b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</a:b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Fill-In</a:t>
              </a:r>
              <a:endPara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Montserrat Light"/>
                <a:sym typeface="Montserrat Light"/>
              </a:endParaRPr>
            </a:p>
          </p:txBody>
        </p:sp>
        <p:grpSp>
          <p:nvGrpSpPr>
            <p:cNvPr id="120" name="Google Shape;271;p20">
              <a:extLst>
                <a:ext uri="{FF2B5EF4-FFF2-40B4-BE49-F238E27FC236}">
                  <a16:creationId xmlns:a16="http://schemas.microsoft.com/office/drawing/2014/main" id="{9471C2AB-6C3E-6A32-2816-CCEE6ED443A3}"/>
                </a:ext>
              </a:extLst>
            </p:cNvPr>
            <p:cNvGrpSpPr/>
            <p:nvPr/>
          </p:nvGrpSpPr>
          <p:grpSpPr>
            <a:xfrm>
              <a:off x="6501504" y="470715"/>
              <a:ext cx="608532" cy="488769"/>
              <a:chOff x="11244985" y="238371"/>
              <a:chExt cx="896990" cy="611042"/>
            </a:xfrm>
          </p:grpSpPr>
          <p:pic>
            <p:nvPicPr>
              <p:cNvPr id="121" name="Google Shape;272;p20" descr="User outline">
                <a:extLst>
                  <a:ext uri="{FF2B5EF4-FFF2-40B4-BE49-F238E27FC236}">
                    <a16:creationId xmlns:a16="http://schemas.microsoft.com/office/drawing/2014/main" id="{B17D99DA-9A1F-1117-29A7-C9D64D192B51}"/>
                  </a:ext>
                </a:extLst>
              </p:cNvPr>
              <p:cNvPicPr preferRelativeResize="0"/>
              <p:nvPr/>
            </p:nvPicPr>
            <p:blipFill rotWithShape="1">
              <a:blip r:embed="rId12">
                <a:alphaModFix/>
              </a:blip>
              <a:srcRect/>
              <a:stretch/>
            </p:blipFill>
            <p:spPr>
              <a:xfrm>
                <a:off x="11494035" y="311642"/>
                <a:ext cx="389382" cy="389382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22" name="Google Shape;273;p20" descr="Smart Phone outline">
                <a:extLst>
                  <a:ext uri="{FF2B5EF4-FFF2-40B4-BE49-F238E27FC236}">
                    <a16:creationId xmlns:a16="http://schemas.microsoft.com/office/drawing/2014/main" id="{7D6D2A01-5CA3-B21B-7322-6D9BA76B5DD4}"/>
                  </a:ext>
                </a:extLst>
              </p:cNvPr>
              <p:cNvPicPr preferRelativeResize="0"/>
              <p:nvPr/>
            </p:nvPicPr>
            <p:blipFill rotWithShape="1">
              <a:blip r:embed="rId10">
                <a:alphaModFix/>
              </a:blip>
              <a:srcRect/>
              <a:stretch/>
            </p:blipFill>
            <p:spPr>
              <a:xfrm>
                <a:off x="11244985" y="238371"/>
                <a:ext cx="896990" cy="611042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8E647F46-43FA-9881-7109-EF890823374F}"/>
              </a:ext>
            </a:extLst>
          </p:cNvPr>
          <p:cNvSpPr/>
          <p:nvPr/>
        </p:nvSpPr>
        <p:spPr>
          <a:xfrm>
            <a:off x="3651708" y="2384452"/>
            <a:ext cx="375548" cy="140588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DE" sz="800" dirty="0"/>
              <a:t>1.0.0</a:t>
            </a:r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9D0A5DD1-35F3-6B70-5D8B-DDCBCA93DD86}"/>
              </a:ext>
            </a:extLst>
          </p:cNvPr>
          <p:cNvSpPr/>
          <p:nvPr/>
        </p:nvSpPr>
        <p:spPr>
          <a:xfrm>
            <a:off x="1916336" y="3375527"/>
            <a:ext cx="375548" cy="140588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DE" sz="800" dirty="0"/>
              <a:t>1.0.0</a:t>
            </a:r>
          </a:p>
        </p:txBody>
      </p:sp>
      <p:sp>
        <p:nvSpPr>
          <p:cNvPr id="37" name="Rounded Rectangle 36">
            <a:extLst>
              <a:ext uri="{FF2B5EF4-FFF2-40B4-BE49-F238E27FC236}">
                <a16:creationId xmlns:a16="http://schemas.microsoft.com/office/drawing/2014/main" id="{D0800B29-24D6-B138-B06E-DF8175861537}"/>
              </a:ext>
            </a:extLst>
          </p:cNvPr>
          <p:cNvSpPr/>
          <p:nvPr/>
        </p:nvSpPr>
        <p:spPr>
          <a:xfrm>
            <a:off x="2871285" y="3399807"/>
            <a:ext cx="375548" cy="140588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DE" sz="800" dirty="0"/>
              <a:t>1.0.0</a:t>
            </a: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977F0587-09FE-B3EE-BE8C-9066023C9909}"/>
              </a:ext>
            </a:extLst>
          </p:cNvPr>
          <p:cNvGrpSpPr/>
          <p:nvPr/>
        </p:nvGrpSpPr>
        <p:grpSpPr>
          <a:xfrm>
            <a:off x="1906494" y="2392726"/>
            <a:ext cx="1014582" cy="815942"/>
            <a:chOff x="1906494" y="2392726"/>
            <a:chExt cx="1014582" cy="815942"/>
          </a:xfrm>
        </p:grpSpPr>
        <p:grpSp>
          <p:nvGrpSpPr>
            <p:cNvPr id="89" name="Group 88">
              <a:extLst>
                <a:ext uri="{FF2B5EF4-FFF2-40B4-BE49-F238E27FC236}">
                  <a16:creationId xmlns:a16="http://schemas.microsoft.com/office/drawing/2014/main" id="{044E99CF-2D7A-D788-3C2E-776C9D4ECE64}"/>
                </a:ext>
              </a:extLst>
            </p:cNvPr>
            <p:cNvGrpSpPr/>
            <p:nvPr/>
          </p:nvGrpSpPr>
          <p:grpSpPr>
            <a:xfrm>
              <a:off x="1906494" y="2413823"/>
              <a:ext cx="914400" cy="794845"/>
              <a:chOff x="2334288" y="2296448"/>
              <a:chExt cx="914400" cy="794845"/>
            </a:xfrm>
          </p:grpSpPr>
          <p:sp>
            <p:nvSpPr>
              <p:cNvPr id="14" name="Google Shape;245;p20">
                <a:extLst>
                  <a:ext uri="{FF2B5EF4-FFF2-40B4-BE49-F238E27FC236}">
                    <a16:creationId xmlns:a16="http://schemas.microsoft.com/office/drawing/2014/main" id="{BEB4AF23-EE45-24A5-523A-D97AA0C869C7}"/>
                  </a:ext>
                </a:extLst>
              </p:cNvPr>
              <p:cNvSpPr txBox="1"/>
              <p:nvPr/>
            </p:nvSpPr>
            <p:spPr>
              <a:xfrm>
                <a:off x="2334288" y="2742393"/>
                <a:ext cx="914400" cy="3489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Montserrat Light"/>
                  <a:buNone/>
                  <a:tabLst/>
                  <a:defRPr/>
                </a:pPr>
                <a:r>
                  <a:rPr kumimoji="0" lang="en-US" sz="1100" b="1" i="0" u="none" strike="noStrike" kern="0" cap="none" spc="0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Montserrat" pitchFamily="2" charset="77"/>
                    <a:ea typeface="Montserrat Light"/>
                    <a:cs typeface="Montserrat Light"/>
                    <a:sym typeface="Montserrat Light"/>
                  </a:rPr>
                  <a:t>OTP</a:t>
                </a:r>
                <a:r>
                  <a:rPr kumimoji="0" lang="en-US" sz="1100" b="1" i="0" u="none" strike="noStrike" kern="0" cap="none" spc="0" normalizeH="0" baseline="3000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Montserrat" pitchFamily="2" charset="77"/>
                    <a:ea typeface="Montserrat Light"/>
                    <a:cs typeface="Montserrat Light"/>
                    <a:sym typeface="Montserrat Light"/>
                  </a:rPr>
                  <a:t>1</a:t>
                </a:r>
                <a:r>
                  <a:rPr kumimoji="0" lang="en-US" sz="1100" b="1" i="0" u="none" strike="noStrike" kern="0" cap="none" spc="0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Montserrat" pitchFamily="2" charset="77"/>
                    <a:ea typeface="Montserrat Light"/>
                    <a:cs typeface="Montserrat Light"/>
                    <a:sym typeface="Montserrat Light"/>
                  </a:rPr>
                  <a:t> (SMS)</a:t>
                </a:r>
                <a:br>
                  <a:rPr kumimoji="0" lang="en-US" sz="1100" b="1" i="0" u="none" strike="noStrike" kern="0" cap="none" spc="0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Montserrat" pitchFamily="2" charset="77"/>
                    <a:ea typeface="Montserrat Light"/>
                    <a:cs typeface="Montserrat Light"/>
                    <a:sym typeface="Montserrat Light"/>
                  </a:rPr>
                </a:br>
                <a:r>
                  <a:rPr kumimoji="0" lang="en-US" sz="1100" b="1" i="0" u="none" strike="noStrike" kern="0" cap="none" spc="0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Montserrat" pitchFamily="2" charset="77"/>
                    <a:ea typeface="Montserrat Light"/>
                    <a:cs typeface="Montserrat Light"/>
                    <a:sym typeface="Montserrat Light"/>
                  </a:rPr>
                  <a:t>Validation</a:t>
                </a:r>
                <a:endParaRPr kumimoji="0" lang="en-US" sz="14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cs typeface="Montserrat Light"/>
                  <a:sym typeface="Montserrat Light"/>
                </a:endParaRPr>
              </a:p>
            </p:txBody>
          </p:sp>
          <p:pic>
            <p:nvPicPr>
              <p:cNvPr id="18" name="Google Shape;249;p20" descr="Shield Tick outline">
                <a:extLst>
                  <a:ext uri="{FF2B5EF4-FFF2-40B4-BE49-F238E27FC236}">
                    <a16:creationId xmlns:a16="http://schemas.microsoft.com/office/drawing/2014/main" id="{6642EE76-F631-260E-661E-ABEAD79DE2E8}"/>
                  </a:ext>
                </a:extLst>
              </p:cNvPr>
              <p:cNvPicPr preferRelativeResize="0"/>
              <p:nvPr/>
            </p:nvPicPr>
            <p:blipFill rotWithShape="1">
              <a:blip r:embed="rId16">
                <a:alphaModFix/>
              </a:blip>
              <a:srcRect/>
              <a:stretch/>
            </p:blipFill>
            <p:spPr>
              <a:xfrm>
                <a:off x="2556415" y="2296448"/>
                <a:ext cx="450110" cy="45011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sp>
          <p:nvSpPr>
            <p:cNvPr id="38" name="Rounded Rectangle 37">
              <a:extLst>
                <a:ext uri="{FF2B5EF4-FFF2-40B4-BE49-F238E27FC236}">
                  <a16:creationId xmlns:a16="http://schemas.microsoft.com/office/drawing/2014/main" id="{07481D6C-50BB-000D-3366-FDD2375A2AC1}"/>
                </a:ext>
              </a:extLst>
            </p:cNvPr>
            <p:cNvSpPr/>
            <p:nvPr/>
          </p:nvSpPr>
          <p:spPr>
            <a:xfrm>
              <a:off x="2545528" y="2392726"/>
              <a:ext cx="375548" cy="140588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en-DE" sz="800" dirty="0"/>
                <a:t>1.0.0</a:t>
              </a: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38BE1B03-C985-C00B-92BC-0B374D9D19EF}"/>
              </a:ext>
            </a:extLst>
          </p:cNvPr>
          <p:cNvGrpSpPr/>
          <p:nvPr/>
        </p:nvGrpSpPr>
        <p:grpSpPr>
          <a:xfrm>
            <a:off x="762901" y="2384452"/>
            <a:ext cx="1003984" cy="860430"/>
            <a:chOff x="762901" y="2384452"/>
            <a:chExt cx="1003984" cy="860430"/>
          </a:xfrm>
        </p:grpSpPr>
        <p:grpSp>
          <p:nvGrpSpPr>
            <p:cNvPr id="87" name="Group 86">
              <a:extLst>
                <a:ext uri="{FF2B5EF4-FFF2-40B4-BE49-F238E27FC236}">
                  <a16:creationId xmlns:a16="http://schemas.microsoft.com/office/drawing/2014/main" id="{B0D3E575-28D8-ABD4-D271-3988695BBFA5}"/>
                </a:ext>
              </a:extLst>
            </p:cNvPr>
            <p:cNvGrpSpPr/>
            <p:nvPr/>
          </p:nvGrpSpPr>
          <p:grpSpPr>
            <a:xfrm>
              <a:off x="762901" y="2392726"/>
              <a:ext cx="914400" cy="852156"/>
              <a:chOff x="1343818" y="2253317"/>
              <a:chExt cx="914400" cy="852156"/>
            </a:xfrm>
          </p:grpSpPr>
          <p:sp>
            <p:nvSpPr>
              <p:cNvPr id="8" name="Google Shape;239;p20">
                <a:extLst>
                  <a:ext uri="{FF2B5EF4-FFF2-40B4-BE49-F238E27FC236}">
                    <a16:creationId xmlns:a16="http://schemas.microsoft.com/office/drawing/2014/main" id="{8DCC3075-C614-7782-6CB7-4383D77EFF02}"/>
                  </a:ext>
                </a:extLst>
              </p:cNvPr>
              <p:cNvSpPr txBox="1"/>
              <p:nvPr/>
            </p:nvSpPr>
            <p:spPr>
              <a:xfrm>
                <a:off x="1343818" y="2756573"/>
                <a:ext cx="914400" cy="3489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Montserrat Light"/>
                  <a:buNone/>
                  <a:tabLst/>
                  <a:defRPr/>
                </a:pPr>
                <a:r>
                  <a:rPr kumimoji="0" lang="en-US" sz="1100" b="1" i="0" u="none" strike="noStrike" kern="0" cap="none" spc="0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Montserrat" pitchFamily="2" charset="77"/>
                    <a:ea typeface="Montserrat Light"/>
                    <a:cs typeface="Montserrat Light"/>
                    <a:sym typeface="Montserrat Light"/>
                  </a:rPr>
                  <a:t>Number</a:t>
                </a:r>
                <a:br>
                  <a:rPr kumimoji="0" lang="en-US" sz="1100" b="1" i="0" u="none" strike="noStrike" kern="0" cap="none" spc="0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Montserrat" pitchFamily="2" charset="77"/>
                    <a:ea typeface="Montserrat Light"/>
                    <a:cs typeface="Montserrat Light"/>
                    <a:sym typeface="Montserrat Light"/>
                  </a:rPr>
                </a:br>
                <a:r>
                  <a:rPr kumimoji="0" lang="en-US" sz="1100" b="1" i="0" u="none" strike="noStrike" kern="0" cap="none" spc="0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Montserrat" pitchFamily="2" charset="77"/>
                    <a:ea typeface="Montserrat Light"/>
                    <a:cs typeface="Montserrat Light"/>
                    <a:sym typeface="Montserrat Light"/>
                  </a:rPr>
                  <a:t>Verification</a:t>
                </a:r>
                <a:endParaRPr kumimoji="0" lang="en-US" sz="14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cs typeface="Montserrat Light"/>
                  <a:sym typeface="Montserrat Light"/>
                </a:endParaRPr>
              </a:p>
            </p:txBody>
          </p:sp>
          <p:pic>
            <p:nvPicPr>
              <p:cNvPr id="20" name="Google Shape;251;p20">
                <a:extLst>
                  <a:ext uri="{FF2B5EF4-FFF2-40B4-BE49-F238E27FC236}">
                    <a16:creationId xmlns:a16="http://schemas.microsoft.com/office/drawing/2014/main" id="{2B654F08-A03B-11B2-6996-06934C3A9690}"/>
                  </a:ext>
                </a:extLst>
              </p:cNvPr>
              <p:cNvPicPr preferRelativeResize="0"/>
              <p:nvPr/>
            </p:nvPicPr>
            <p:blipFill rotWithShape="1">
              <a:blip r:embed="rId17">
                <a:alphaModFix/>
              </a:blip>
              <a:srcRect/>
              <a:stretch/>
            </p:blipFill>
            <p:spPr>
              <a:xfrm>
                <a:off x="1517892" y="2253317"/>
                <a:ext cx="450110" cy="433435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sp>
          <p:nvSpPr>
            <p:cNvPr id="39" name="Rounded Rectangle 38">
              <a:extLst>
                <a:ext uri="{FF2B5EF4-FFF2-40B4-BE49-F238E27FC236}">
                  <a16:creationId xmlns:a16="http://schemas.microsoft.com/office/drawing/2014/main" id="{98D2C5F8-6E66-72E8-A0B2-188E4FB72FB4}"/>
                </a:ext>
              </a:extLst>
            </p:cNvPr>
            <p:cNvSpPr/>
            <p:nvPr/>
          </p:nvSpPr>
          <p:spPr>
            <a:xfrm>
              <a:off x="1391337" y="2384452"/>
              <a:ext cx="375548" cy="140588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en-DE" sz="800" dirty="0"/>
                <a:t>1.0.0</a:t>
              </a:r>
            </a:p>
          </p:txBody>
        </p:sp>
      </p:grpSp>
      <p:sp>
        <p:nvSpPr>
          <p:cNvPr id="49" name="Rounded Rectangle 48">
            <a:extLst>
              <a:ext uri="{FF2B5EF4-FFF2-40B4-BE49-F238E27FC236}">
                <a16:creationId xmlns:a16="http://schemas.microsoft.com/office/drawing/2014/main" id="{8E4E6095-F6B6-5002-13FD-2B16E67DDE2F}"/>
              </a:ext>
            </a:extLst>
          </p:cNvPr>
          <p:cNvSpPr/>
          <p:nvPr/>
        </p:nvSpPr>
        <p:spPr>
          <a:xfrm>
            <a:off x="6136580" y="2392726"/>
            <a:ext cx="375548" cy="140588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DE" sz="800" dirty="0"/>
              <a:t>0.3.0</a:t>
            </a:r>
          </a:p>
        </p:txBody>
      </p:sp>
      <p:sp>
        <p:nvSpPr>
          <p:cNvPr id="46" name="Rounded Rectangle 45">
            <a:extLst>
              <a:ext uri="{FF2B5EF4-FFF2-40B4-BE49-F238E27FC236}">
                <a16:creationId xmlns:a16="http://schemas.microsoft.com/office/drawing/2014/main" id="{11385DD6-55F9-5154-28C1-46F57719C73E}"/>
              </a:ext>
            </a:extLst>
          </p:cNvPr>
          <p:cNvSpPr/>
          <p:nvPr/>
        </p:nvSpPr>
        <p:spPr>
          <a:xfrm>
            <a:off x="7330143" y="2388384"/>
            <a:ext cx="375548" cy="140588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DE" sz="800" dirty="0"/>
              <a:t>0.6.0</a:t>
            </a:r>
          </a:p>
        </p:txBody>
      </p:sp>
      <p:sp>
        <p:nvSpPr>
          <p:cNvPr id="47" name="Rounded Rectangle 46">
            <a:extLst>
              <a:ext uri="{FF2B5EF4-FFF2-40B4-BE49-F238E27FC236}">
                <a16:creationId xmlns:a16="http://schemas.microsoft.com/office/drawing/2014/main" id="{F17BE9BB-2F3E-CF24-C910-85795CEA4D9A}"/>
              </a:ext>
            </a:extLst>
          </p:cNvPr>
          <p:cNvSpPr/>
          <p:nvPr/>
        </p:nvSpPr>
        <p:spPr>
          <a:xfrm>
            <a:off x="5723060" y="3356373"/>
            <a:ext cx="375548" cy="140588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DE" sz="800" dirty="0"/>
              <a:t>0.2.0</a:t>
            </a:r>
          </a:p>
        </p:txBody>
      </p:sp>
      <p:sp>
        <p:nvSpPr>
          <p:cNvPr id="48" name="Rounded Rectangle 47">
            <a:extLst>
              <a:ext uri="{FF2B5EF4-FFF2-40B4-BE49-F238E27FC236}">
                <a16:creationId xmlns:a16="http://schemas.microsoft.com/office/drawing/2014/main" id="{77B71EA2-DCBC-93C5-1886-833046E4FAF3}"/>
              </a:ext>
            </a:extLst>
          </p:cNvPr>
          <p:cNvSpPr/>
          <p:nvPr/>
        </p:nvSpPr>
        <p:spPr>
          <a:xfrm>
            <a:off x="6804526" y="3354977"/>
            <a:ext cx="375548" cy="140588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DE" sz="800" dirty="0"/>
              <a:t>0.3.0</a:t>
            </a:r>
          </a:p>
        </p:txBody>
      </p:sp>
      <p:sp>
        <p:nvSpPr>
          <p:cNvPr id="50" name="Rounded Rectangle 49">
            <a:extLst>
              <a:ext uri="{FF2B5EF4-FFF2-40B4-BE49-F238E27FC236}">
                <a16:creationId xmlns:a16="http://schemas.microsoft.com/office/drawing/2014/main" id="{F3A2FCA6-0C22-45BF-634F-7154C9A75298}"/>
              </a:ext>
            </a:extLst>
          </p:cNvPr>
          <p:cNvSpPr/>
          <p:nvPr/>
        </p:nvSpPr>
        <p:spPr>
          <a:xfrm>
            <a:off x="8068601" y="3352490"/>
            <a:ext cx="375548" cy="140588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DE" sz="800" dirty="0"/>
              <a:t>0.4.0</a:t>
            </a:r>
          </a:p>
        </p:txBody>
      </p:sp>
      <p:sp>
        <p:nvSpPr>
          <p:cNvPr id="52" name="Rounded Rectangle 51">
            <a:extLst>
              <a:ext uri="{FF2B5EF4-FFF2-40B4-BE49-F238E27FC236}">
                <a16:creationId xmlns:a16="http://schemas.microsoft.com/office/drawing/2014/main" id="{FD9F030F-E61E-D380-6B68-57E01E58CFE4}"/>
              </a:ext>
            </a:extLst>
          </p:cNvPr>
          <p:cNvSpPr/>
          <p:nvPr/>
        </p:nvSpPr>
        <p:spPr>
          <a:xfrm>
            <a:off x="9525998" y="3372126"/>
            <a:ext cx="375548" cy="140588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DE" sz="800" dirty="0"/>
              <a:t>0.11.0</a:t>
            </a:r>
          </a:p>
        </p:txBody>
      </p:sp>
      <p:sp>
        <p:nvSpPr>
          <p:cNvPr id="53" name="Rounded Rectangle 52">
            <a:extLst>
              <a:ext uri="{FF2B5EF4-FFF2-40B4-BE49-F238E27FC236}">
                <a16:creationId xmlns:a16="http://schemas.microsoft.com/office/drawing/2014/main" id="{5090D71E-A33B-F329-365D-BC59EA3F6DE4}"/>
              </a:ext>
            </a:extLst>
          </p:cNvPr>
          <p:cNvSpPr/>
          <p:nvPr/>
        </p:nvSpPr>
        <p:spPr>
          <a:xfrm>
            <a:off x="10787660" y="3370275"/>
            <a:ext cx="375548" cy="140588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DE" sz="800"/>
              <a:t>0.11.0</a:t>
            </a:r>
            <a:endParaRPr lang="en-DE" sz="800" dirty="0"/>
          </a:p>
        </p:txBody>
      </p:sp>
      <p:sp>
        <p:nvSpPr>
          <p:cNvPr id="54" name="Rounded Rectangle 53">
            <a:extLst>
              <a:ext uri="{FF2B5EF4-FFF2-40B4-BE49-F238E27FC236}">
                <a16:creationId xmlns:a16="http://schemas.microsoft.com/office/drawing/2014/main" id="{4D5D9B17-CAEE-7012-9FF1-3ED57202DF14}"/>
              </a:ext>
            </a:extLst>
          </p:cNvPr>
          <p:cNvSpPr/>
          <p:nvPr/>
        </p:nvSpPr>
        <p:spPr>
          <a:xfrm>
            <a:off x="8955333" y="2389555"/>
            <a:ext cx="375548" cy="140588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DE" sz="800" dirty="0"/>
              <a:t>0.6.0</a:t>
            </a:r>
          </a:p>
        </p:txBody>
      </p:sp>
      <p:sp>
        <p:nvSpPr>
          <p:cNvPr id="56" name="Rounded Rectangle 55">
            <a:extLst>
              <a:ext uri="{FF2B5EF4-FFF2-40B4-BE49-F238E27FC236}">
                <a16:creationId xmlns:a16="http://schemas.microsoft.com/office/drawing/2014/main" id="{D9F2D2C6-6622-9082-395A-A5AC6786062A}"/>
              </a:ext>
            </a:extLst>
          </p:cNvPr>
          <p:cNvSpPr/>
          <p:nvPr/>
        </p:nvSpPr>
        <p:spPr>
          <a:xfrm>
            <a:off x="10349703" y="2389153"/>
            <a:ext cx="375548" cy="140588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DE" sz="800" dirty="0"/>
              <a:t>0.2.1</a:t>
            </a:r>
          </a:p>
        </p:txBody>
      </p:sp>
      <p:sp>
        <p:nvSpPr>
          <p:cNvPr id="59" name="Rounded Rectangle 58">
            <a:extLst>
              <a:ext uri="{FF2B5EF4-FFF2-40B4-BE49-F238E27FC236}">
                <a16:creationId xmlns:a16="http://schemas.microsoft.com/office/drawing/2014/main" id="{7E9C522A-63A8-2B4E-4257-0387FDC808B3}"/>
              </a:ext>
            </a:extLst>
          </p:cNvPr>
          <p:cNvSpPr/>
          <p:nvPr/>
        </p:nvSpPr>
        <p:spPr>
          <a:xfrm>
            <a:off x="1553353" y="4733313"/>
            <a:ext cx="375548" cy="140588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DE" sz="800" dirty="0"/>
              <a:t>0.3.0</a:t>
            </a:r>
          </a:p>
        </p:txBody>
      </p:sp>
      <p:sp>
        <p:nvSpPr>
          <p:cNvPr id="63" name="Rounded Rectangle 62">
            <a:extLst>
              <a:ext uri="{FF2B5EF4-FFF2-40B4-BE49-F238E27FC236}">
                <a16:creationId xmlns:a16="http://schemas.microsoft.com/office/drawing/2014/main" id="{59876FF9-E7E9-3B9B-D05B-99637DB36E1F}"/>
              </a:ext>
            </a:extLst>
          </p:cNvPr>
          <p:cNvSpPr/>
          <p:nvPr/>
        </p:nvSpPr>
        <p:spPr>
          <a:xfrm>
            <a:off x="3575991" y="4733313"/>
            <a:ext cx="375548" cy="140588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DE" sz="800" dirty="0"/>
              <a:t>0.2.0</a:t>
            </a:r>
          </a:p>
        </p:txBody>
      </p:sp>
      <p:sp>
        <p:nvSpPr>
          <p:cNvPr id="64" name="Rounded Rectangle 63">
            <a:extLst>
              <a:ext uri="{FF2B5EF4-FFF2-40B4-BE49-F238E27FC236}">
                <a16:creationId xmlns:a16="http://schemas.microsoft.com/office/drawing/2014/main" id="{76DC8012-031A-B30C-BA2F-FA5B47C53244}"/>
              </a:ext>
            </a:extLst>
          </p:cNvPr>
          <p:cNvSpPr/>
          <p:nvPr/>
        </p:nvSpPr>
        <p:spPr>
          <a:xfrm>
            <a:off x="5163836" y="4735555"/>
            <a:ext cx="375548" cy="140588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DE" sz="800" dirty="0"/>
              <a:t>0.1.0</a:t>
            </a:r>
          </a:p>
        </p:txBody>
      </p:sp>
      <p:sp>
        <p:nvSpPr>
          <p:cNvPr id="65" name="Rounded Rectangle 64">
            <a:extLst>
              <a:ext uri="{FF2B5EF4-FFF2-40B4-BE49-F238E27FC236}">
                <a16:creationId xmlns:a16="http://schemas.microsoft.com/office/drawing/2014/main" id="{A91C4C32-4D77-8807-C21F-092ACBC74165}"/>
              </a:ext>
            </a:extLst>
          </p:cNvPr>
          <p:cNvSpPr/>
          <p:nvPr/>
        </p:nvSpPr>
        <p:spPr>
          <a:xfrm>
            <a:off x="7330143" y="4733662"/>
            <a:ext cx="375548" cy="140588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DE" sz="800" dirty="0"/>
              <a:t>0.4.0</a:t>
            </a:r>
          </a:p>
        </p:txBody>
      </p:sp>
      <p:sp>
        <p:nvSpPr>
          <p:cNvPr id="66" name="Rounded Rectangle 65">
            <a:extLst>
              <a:ext uri="{FF2B5EF4-FFF2-40B4-BE49-F238E27FC236}">
                <a16:creationId xmlns:a16="http://schemas.microsoft.com/office/drawing/2014/main" id="{FBFA035F-B314-53F3-E676-7BD978DC0F44}"/>
              </a:ext>
            </a:extLst>
          </p:cNvPr>
          <p:cNvSpPr/>
          <p:nvPr/>
        </p:nvSpPr>
        <p:spPr>
          <a:xfrm>
            <a:off x="8918863" y="4730842"/>
            <a:ext cx="375548" cy="140588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DE" sz="800" dirty="0"/>
              <a:t>0.1.1</a:t>
            </a:r>
          </a:p>
        </p:txBody>
      </p:sp>
      <p:sp>
        <p:nvSpPr>
          <p:cNvPr id="67" name="Rounded Rectangle 66">
            <a:extLst>
              <a:ext uri="{FF2B5EF4-FFF2-40B4-BE49-F238E27FC236}">
                <a16:creationId xmlns:a16="http://schemas.microsoft.com/office/drawing/2014/main" id="{54E7F9BA-D1B0-6A5D-CAAE-3390D6865767}"/>
              </a:ext>
            </a:extLst>
          </p:cNvPr>
          <p:cNvSpPr/>
          <p:nvPr/>
        </p:nvSpPr>
        <p:spPr>
          <a:xfrm>
            <a:off x="10392279" y="4730842"/>
            <a:ext cx="375548" cy="140588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DE" sz="800" dirty="0"/>
              <a:t>0.1.0</a:t>
            </a:r>
          </a:p>
        </p:txBody>
      </p:sp>
      <p:sp>
        <p:nvSpPr>
          <p:cNvPr id="68" name="Rounded Rectangle 67">
            <a:extLst>
              <a:ext uri="{FF2B5EF4-FFF2-40B4-BE49-F238E27FC236}">
                <a16:creationId xmlns:a16="http://schemas.microsoft.com/office/drawing/2014/main" id="{C2E99B9B-F1D5-B83C-636A-9F6FB3B1BE94}"/>
              </a:ext>
            </a:extLst>
          </p:cNvPr>
          <p:cNvSpPr/>
          <p:nvPr/>
        </p:nvSpPr>
        <p:spPr>
          <a:xfrm>
            <a:off x="2421434" y="5662092"/>
            <a:ext cx="375548" cy="140588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DE" sz="800" dirty="0"/>
              <a:t>0.4.0</a:t>
            </a:r>
          </a:p>
        </p:txBody>
      </p:sp>
      <p:sp>
        <p:nvSpPr>
          <p:cNvPr id="69" name="Rounded Rectangle 68">
            <a:extLst>
              <a:ext uri="{FF2B5EF4-FFF2-40B4-BE49-F238E27FC236}">
                <a16:creationId xmlns:a16="http://schemas.microsoft.com/office/drawing/2014/main" id="{DA9FC3D7-0872-CA09-A677-609F8427F224}"/>
              </a:ext>
            </a:extLst>
          </p:cNvPr>
          <p:cNvSpPr/>
          <p:nvPr/>
        </p:nvSpPr>
        <p:spPr>
          <a:xfrm>
            <a:off x="4551642" y="5661757"/>
            <a:ext cx="375548" cy="140588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DE" sz="800" dirty="0"/>
              <a:t>0.6.0</a:t>
            </a:r>
          </a:p>
        </p:txBody>
      </p:sp>
      <p:sp>
        <p:nvSpPr>
          <p:cNvPr id="70" name="Rounded Rectangle 69">
            <a:extLst>
              <a:ext uri="{FF2B5EF4-FFF2-40B4-BE49-F238E27FC236}">
                <a16:creationId xmlns:a16="http://schemas.microsoft.com/office/drawing/2014/main" id="{80ABF4DD-4496-A90C-9CE7-E2C8F82020C3}"/>
              </a:ext>
            </a:extLst>
          </p:cNvPr>
          <p:cNvSpPr/>
          <p:nvPr/>
        </p:nvSpPr>
        <p:spPr>
          <a:xfrm>
            <a:off x="10080828" y="5654614"/>
            <a:ext cx="375548" cy="140588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DE" sz="800" dirty="0"/>
              <a:t>0.1.0</a:t>
            </a:r>
          </a:p>
        </p:txBody>
      </p:sp>
      <p:sp>
        <p:nvSpPr>
          <p:cNvPr id="71" name="Rounded Rectangle 70">
            <a:extLst>
              <a:ext uri="{FF2B5EF4-FFF2-40B4-BE49-F238E27FC236}">
                <a16:creationId xmlns:a16="http://schemas.microsoft.com/office/drawing/2014/main" id="{D84E9F32-C3F4-25C3-4005-2A550963642F}"/>
              </a:ext>
            </a:extLst>
          </p:cNvPr>
          <p:cNvSpPr/>
          <p:nvPr/>
        </p:nvSpPr>
        <p:spPr>
          <a:xfrm>
            <a:off x="8384640" y="5662522"/>
            <a:ext cx="375548" cy="140588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DE" sz="800" dirty="0"/>
              <a:t>0.3.0</a:t>
            </a:r>
          </a:p>
        </p:txBody>
      </p:sp>
      <p:sp>
        <p:nvSpPr>
          <p:cNvPr id="75" name="Rounded Rectangle 74">
            <a:extLst>
              <a:ext uri="{FF2B5EF4-FFF2-40B4-BE49-F238E27FC236}">
                <a16:creationId xmlns:a16="http://schemas.microsoft.com/office/drawing/2014/main" id="{BCE253F8-A0B9-06F5-D324-C60C4DF35D8C}"/>
              </a:ext>
            </a:extLst>
          </p:cNvPr>
          <p:cNvSpPr/>
          <p:nvPr/>
        </p:nvSpPr>
        <p:spPr>
          <a:xfrm>
            <a:off x="6594886" y="5660637"/>
            <a:ext cx="375548" cy="140588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DE" sz="800" dirty="0"/>
              <a:t>0.6.0</a:t>
            </a:r>
          </a:p>
        </p:txBody>
      </p:sp>
    </p:spTree>
    <p:extLst>
      <p:ext uri="{BB962C8B-B14F-4D97-AF65-F5344CB8AC3E}">
        <p14:creationId xmlns:p14="http://schemas.microsoft.com/office/powerpoint/2010/main" val="81198478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F9786E2C-3C7A-985E-93D1-4AEDB3D792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5325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0" progId="TCLayout.ActiveDocument.1">
                  <p:embed/>
                </p:oleObj>
              </mc:Choice>
              <mc:Fallback>
                <p:oleObj name="think-cell Folie" r:id="rId3" imgW="532" imgH="530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F9786E2C-3C7A-985E-93D1-4AEDB3D792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AA1587CF-E9D0-F431-5DFC-892BB418E4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Release Management</a:t>
            </a:r>
            <a:br>
              <a:rPr lang="de-DE" dirty="0"/>
            </a:br>
            <a:r>
              <a:rPr lang="de-DE" dirty="0"/>
              <a:t>API List </a:t>
            </a:r>
            <a:r>
              <a:rPr lang="de-DE"/>
              <a:t>Fall24 Meta-release</a:t>
            </a:r>
            <a:endParaRPr lang="de-DE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DCB1F54D-C5B3-1C9E-B1B9-58665FD90C96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44373" y="1890346"/>
            <a:ext cx="9593087" cy="4124383"/>
          </a:xfrm>
        </p:spPr>
        <p:txBody>
          <a:bodyPr/>
          <a:lstStyle/>
          <a:p>
            <a:pPr lvl="1" fontAlgn="base">
              <a:spcBef>
                <a:spcPts val="0"/>
              </a:spcBef>
            </a:pPr>
            <a:r>
              <a:rPr lang="en-GB" sz="1600" b="1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  <a:t>Stable </a:t>
            </a:r>
            <a:r>
              <a:rPr lang="en-GB" sz="1600" b="1" i="0" u="none" strike="noStrike">
                <a:solidFill>
                  <a:srgbClr val="172B4D"/>
                </a:solidFill>
                <a:effectLst/>
                <a:latin typeface="Montserrat" pitchFamily="2" charset="77"/>
              </a:rPr>
              <a:t>APIs (v1.0.0), with previous </a:t>
            </a:r>
            <a:r>
              <a:rPr lang="en-GB" sz="1600" b="1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  <a:t>API </a:t>
            </a:r>
            <a:r>
              <a:rPr lang="en-GB" sz="1600" b="1" i="0" u="none" strike="noStrike">
                <a:solidFill>
                  <a:srgbClr val="172B4D"/>
                </a:solidFill>
                <a:effectLst/>
                <a:latin typeface="Montserrat" pitchFamily="2" charset="77"/>
              </a:rPr>
              <a:t>versions implemented </a:t>
            </a:r>
            <a:r>
              <a:rPr lang="en-GB" sz="1600" b="1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  <a:t>by </a:t>
            </a:r>
            <a:r>
              <a:rPr lang="en-GB" sz="1600" b="1" i="0" u="none" strike="noStrike">
                <a:solidFill>
                  <a:srgbClr val="172B4D"/>
                </a:solidFill>
                <a:effectLst/>
                <a:latin typeface="Montserrat" pitchFamily="2" charset="77"/>
              </a:rPr>
              <a:t>network operators: </a:t>
            </a:r>
            <a:endParaRPr lang="en-GB" sz="1600" b="1" i="0" u="none" strike="noStrike" dirty="0">
              <a:solidFill>
                <a:srgbClr val="172B4D"/>
              </a:solidFill>
              <a:effectLst/>
              <a:latin typeface="Montserrat" pitchFamily="2" charset="77"/>
            </a:endParaRPr>
          </a:p>
          <a:p>
            <a:pPr marL="180000" lvl="2" indent="0" fontAlgn="base">
              <a:spcBef>
                <a:spcPts val="0"/>
              </a:spcBef>
              <a:buNone/>
            </a:pPr>
            <a:r>
              <a:rPr lang="en-GB" sz="1600" b="0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  <a:t>Location Verification, Number Verification, One-time Password SMS, Simple Edge Discovery</a:t>
            </a:r>
            <a:r>
              <a:rPr lang="en-GB" sz="1600" b="0" i="0" u="none" strike="noStrike">
                <a:solidFill>
                  <a:srgbClr val="172B4D"/>
                </a:solidFill>
                <a:effectLst/>
                <a:latin typeface="Montserrat" pitchFamily="2" charset="77"/>
              </a:rPr>
              <a:t>, SIM </a:t>
            </a:r>
            <a:r>
              <a:rPr lang="en-GB" sz="1600" b="0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  <a:t>Swap</a:t>
            </a:r>
          </a:p>
          <a:p>
            <a:pPr lvl="1" fontAlgn="base">
              <a:spcBef>
                <a:spcPts val="600"/>
              </a:spcBef>
            </a:pPr>
            <a:r>
              <a:rPr lang="en-GB" sz="1600" b="1" i="0" u="none" strike="noStrike">
                <a:solidFill>
                  <a:srgbClr val="172B4D"/>
                </a:solidFill>
                <a:effectLst/>
                <a:latin typeface="Montserrat" pitchFamily="2" charset="77"/>
              </a:rPr>
              <a:t>Updated initial CAMARA APIs (v0.y.z), previous versions implemented </a:t>
            </a:r>
            <a:r>
              <a:rPr lang="en-GB" sz="1600" b="1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  <a:t>by network operators:</a:t>
            </a:r>
            <a:r>
              <a:rPr lang="en-GB" sz="1600" b="0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  <a:t> </a:t>
            </a:r>
            <a:br>
              <a:rPr lang="en-GB" sz="1600" b="0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</a:br>
            <a:r>
              <a:rPr lang="en-GB" sz="1600" b="0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  <a:t>Carrier Billing, Device Reachability Status, Device Roaming Status, Home Devices QoD</a:t>
            </a:r>
            <a:r>
              <a:rPr lang="en-GB" sz="1600" b="0" i="0" u="none" strike="noStrike">
                <a:solidFill>
                  <a:srgbClr val="172B4D"/>
                </a:solidFill>
                <a:effectLst/>
                <a:latin typeface="Montserrat" pitchFamily="2" charset="77"/>
              </a:rPr>
              <a:t>, </a:t>
            </a:r>
            <a:br>
              <a:rPr lang="en-GB" sz="1600" b="0" i="0" u="none" strike="noStrike">
                <a:solidFill>
                  <a:srgbClr val="172B4D"/>
                </a:solidFill>
                <a:effectLst/>
                <a:latin typeface="Montserrat" pitchFamily="2" charset="77"/>
              </a:rPr>
            </a:br>
            <a:r>
              <a:rPr lang="en-GB" sz="1600" b="0" i="0" u="none" strike="noStrike">
                <a:solidFill>
                  <a:srgbClr val="172B4D"/>
                </a:solidFill>
                <a:effectLst/>
                <a:latin typeface="Montserrat" pitchFamily="2" charset="77"/>
              </a:rPr>
              <a:t>KYC </a:t>
            </a:r>
            <a:r>
              <a:rPr lang="en-GB" sz="1600" b="0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  <a:t>Fill-In,  KYC Match, Location Retrieval</a:t>
            </a:r>
            <a:r>
              <a:rPr lang="en-GB" sz="1600" b="0" i="0" u="none" strike="noStrike">
                <a:solidFill>
                  <a:srgbClr val="172B4D"/>
                </a:solidFill>
                <a:effectLst/>
                <a:latin typeface="Montserrat" pitchFamily="2" charset="77"/>
              </a:rPr>
              <a:t>, Qos Profiles, Quality-on-Demand </a:t>
            </a:r>
            <a:endParaRPr lang="en-GB" sz="1600" b="0" i="0" u="none" strike="noStrike" dirty="0">
              <a:solidFill>
                <a:srgbClr val="172B4D"/>
              </a:solidFill>
              <a:effectLst/>
              <a:latin typeface="Montserrat" pitchFamily="2" charset="77"/>
            </a:endParaRPr>
          </a:p>
          <a:p>
            <a:pPr lvl="1" fontAlgn="base">
              <a:spcBef>
                <a:spcPts val="600"/>
              </a:spcBef>
            </a:pPr>
            <a:r>
              <a:rPr lang="en-GB" sz="1600" b="1" i="0" u="none" strike="noStrike">
                <a:solidFill>
                  <a:srgbClr val="172B4D"/>
                </a:solidFill>
                <a:effectLst/>
                <a:latin typeface="Montserrat" pitchFamily="2" charset="77"/>
              </a:rPr>
              <a:t>New initial APIs (v0.y.z), ready for first implementations by </a:t>
            </a:r>
            <a:r>
              <a:rPr lang="en-GB" sz="1600" b="1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  <a:t>network operators:  </a:t>
            </a:r>
            <a:br>
              <a:rPr lang="en-GB" sz="1600" b="1" i="0" u="none" strike="noStrike">
                <a:solidFill>
                  <a:srgbClr val="172B4D"/>
                </a:solidFill>
                <a:effectLst/>
                <a:latin typeface="Montserrat" pitchFamily="2" charset="77"/>
              </a:rPr>
            </a:br>
            <a:r>
              <a:rPr lang="en-GB" sz="1600" i="0" u="none" strike="noStrike">
                <a:solidFill>
                  <a:srgbClr val="172B4D"/>
                </a:solidFill>
                <a:effectLst/>
                <a:latin typeface="Montserrat" pitchFamily="2" charset="77"/>
              </a:rPr>
              <a:t>Application Profiles, </a:t>
            </a:r>
            <a:r>
              <a:rPr lang="en-GB" sz="1600" b="0" i="0" u="none" strike="noStrike">
                <a:solidFill>
                  <a:srgbClr val="172B4D"/>
                </a:solidFill>
                <a:effectLst/>
                <a:latin typeface="Montserrat" pitchFamily="2" charset="77"/>
              </a:rPr>
              <a:t>Call </a:t>
            </a:r>
            <a:r>
              <a:rPr lang="en-GB" sz="1600" b="0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  <a:t>Forwarding Signal, Carrier Billing Refund, </a:t>
            </a:r>
            <a:r>
              <a:rPr lang="en-GB" sz="1600" b="0" i="0" u="none" strike="noStrike">
                <a:solidFill>
                  <a:srgbClr val="172B4D"/>
                </a:solidFill>
                <a:effectLst/>
                <a:latin typeface="Montserrat" pitchFamily="2" charset="77"/>
              </a:rPr>
              <a:t>Connectivity Insights, </a:t>
            </a:r>
            <a:r>
              <a:rPr lang="en-GB" sz="1600" b="0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  <a:t>Population Density Data, QoD Provisioning</a:t>
            </a:r>
          </a:p>
          <a:p>
            <a:pPr lvl="1" fontAlgn="base">
              <a:spcBef>
                <a:spcPts val="600"/>
              </a:spcBef>
            </a:pPr>
            <a:r>
              <a:rPr lang="en-GB" sz="1600" b="1" i="0" u="none" strike="noStrike">
                <a:solidFill>
                  <a:srgbClr val="172B4D"/>
                </a:solidFill>
                <a:effectLst/>
                <a:latin typeface="Montserrat" pitchFamily="2" charset="77"/>
              </a:rPr>
              <a:t>New initial APIs (v0.y.z) to </a:t>
            </a:r>
            <a:r>
              <a:rPr lang="en-GB" sz="1600" b="1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  <a:t>subscribe for event notifications in </a:t>
            </a:r>
            <a:r>
              <a:rPr lang="en-GB" sz="1600" b="1" i="0" u="none" strike="noStrike" dirty="0" err="1">
                <a:solidFill>
                  <a:srgbClr val="172B4D"/>
                </a:solidFill>
                <a:effectLst/>
                <a:latin typeface="Montserrat" pitchFamily="2" charset="77"/>
              </a:rPr>
              <a:t>CloudEvents</a:t>
            </a:r>
            <a:r>
              <a:rPr lang="en-GB" sz="1600" b="1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  <a:t> format:</a:t>
            </a:r>
            <a:r>
              <a:rPr lang="en-GB" sz="1600" b="0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  <a:t> </a:t>
            </a:r>
            <a:br>
              <a:rPr lang="en-GB" sz="1600" b="0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</a:br>
            <a:r>
              <a:rPr lang="en-GB" sz="1600" b="0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  <a:t>Connectivity Insights Subscriptions, Device Reachability Status Subscriptions</a:t>
            </a:r>
            <a:r>
              <a:rPr lang="en-GB" sz="1600" b="0" i="0" u="none" strike="noStrike">
                <a:solidFill>
                  <a:srgbClr val="172B4D"/>
                </a:solidFill>
                <a:effectLst/>
                <a:latin typeface="Montserrat" pitchFamily="2" charset="77"/>
              </a:rPr>
              <a:t>, Device </a:t>
            </a:r>
            <a:r>
              <a:rPr lang="en-GB" sz="1600" b="0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  <a:t>Roaming Status Subscriptions, Geofencing Subscriptions, SIM Swap Subscriptions</a:t>
            </a:r>
          </a:p>
          <a:p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25546348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80"/>
  <p:tag name="ARTICULATE_PROJECT_OPEN" val="0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tecon_Master">
  <a:themeElements>
    <a:clrScheme name="2FB8AE">
      <a:dk1>
        <a:srgbClr val="000000"/>
      </a:dk1>
      <a:lt1>
        <a:srgbClr val="FFFFFF"/>
      </a:lt1>
      <a:dk2>
        <a:srgbClr val="404041"/>
      </a:dk2>
      <a:lt2>
        <a:srgbClr val="EEEEEE"/>
      </a:lt2>
      <a:accent1>
        <a:srgbClr val="06C5F8"/>
      </a:accent1>
      <a:accent2>
        <a:srgbClr val="3A9BF3"/>
      </a:accent2>
      <a:accent3>
        <a:srgbClr val="2FB8AE"/>
      </a:accent3>
      <a:accent4>
        <a:srgbClr val="BECA41"/>
      </a:accent4>
      <a:accent5>
        <a:srgbClr val="FDBF11"/>
      </a:accent5>
      <a:accent6>
        <a:srgbClr val="E21075"/>
      </a:accent6>
      <a:hlink>
        <a:srgbClr val="3A9BF3"/>
      </a:hlink>
      <a:folHlink>
        <a:srgbClr val="3A9BF3"/>
      </a:folHlink>
    </a:clrScheme>
    <a:fontScheme name="Deteco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D0D0D0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Gelb Hell">
      <a:srgbClr val="FFDE5D"/>
    </a:custClr>
    <a:custClr name="Gelb Dunkel">
      <a:srgbClr val="DBAD39"/>
    </a:custClr>
    <a:custClr name="Orange Hell">
      <a:srgbClr val="FFB356"/>
    </a:custClr>
    <a:custClr name="Orange Dunkel">
      <a:srgbClr val="D48936"/>
    </a:custClr>
    <a:custClr name="Hellblau Hell">
      <a:srgbClr val="7ECBF5"/>
    </a:custClr>
    <a:custClr name="Hellblau Dunkel">
      <a:srgbClr val="317CB3"/>
    </a:custClr>
    <a:custClr name="Dunkelblau Hell">
      <a:srgbClr val="529AD6"/>
    </a:custClr>
    <a:custClr name="Dunkelblau Dunkel">
      <a:srgbClr val="235482"/>
    </a:custClr>
    <a:custClr name="Petrol Hell">
      <a:srgbClr val="65C8C0"/>
    </a:custClr>
    <a:custClr name="Petrol Dunkel">
      <a:srgbClr val="218076"/>
    </a:custClr>
    <a:custClr name="Grün Hell">
      <a:srgbClr val="CFD873"/>
    </a:custClr>
    <a:custClr name="Grün Dunkel">
      <a:srgbClr val="889130"/>
    </a:custClr>
    <a:custClr name="Schwarz">
      <a:srgbClr val="000000"/>
    </a:custClr>
    <a:custClr name="Grau 38">
      <a:srgbClr val="262626"/>
    </a:custClr>
    <a:custClr name="Grau 5">
      <a:srgbClr val="4B4B4B"/>
    </a:custClr>
    <a:custClr name="Grau 3">
      <a:srgbClr val="6C6C6C"/>
    </a:custClr>
    <a:custClr name="Grau 2">
      <a:srgbClr val="7C7C7C"/>
    </a:custClr>
    <a:custClr name="Grau 1">
      <a:srgbClr val="A4A4A4"/>
    </a:custClr>
    <a:custClr name="Grau 6">
      <a:srgbClr val="D0D0D0"/>
    </a:custClr>
    <a:custClr name="Grau 230">
      <a:srgbClr val="E6E6E6"/>
    </a:custClr>
    <a:custClr name="Grau 4">
      <a:srgbClr val="EDEDED"/>
    </a:custClr>
  </a:custClrLst>
  <a:extLst>
    <a:ext uri="{05A4C25C-085E-4340-85A3-A5531E510DB2}">
      <thm15:themeFamily xmlns:thm15="http://schemas.microsoft.com/office/thememl/2012/main" name="CAMARA Master Template.potx" id="{04A64C77-3702-487F-8FF4-D54C7EDECC02}" vid="{74A7C627-616C-49F6-8964-9251D8F235AF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044AD662EB7A25499208DD4235E5F8D6" ma:contentTypeVersion="18" ma:contentTypeDescription="Ein neues Dokument erstellen." ma:contentTypeScope="" ma:versionID="6743b63c00ca1b836503a1e7d79de5f6">
  <xsd:schema xmlns:xsd="http://www.w3.org/2001/XMLSchema" xmlns:xs="http://www.w3.org/2001/XMLSchema" xmlns:p="http://schemas.microsoft.com/office/2006/metadata/properties" xmlns:ns2="6126070c-0864-4b03-b2dc-aab5d8c39348" xmlns:ns3="97396690-0b91-46d2-ad5a-06f45914e19c" targetNamespace="http://schemas.microsoft.com/office/2006/metadata/properties" ma:root="true" ma:fieldsID="7df0be0bc9a5654e75e7c5b6be00286d" ns2:_="" ns3:_="">
    <xsd:import namespace="6126070c-0864-4b03-b2dc-aab5d8c39348"/>
    <xsd:import namespace="97396690-0b91-46d2-ad5a-06f45914e19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LengthInSeconds" minOccurs="0"/>
                <xsd:element ref="ns2:MediaServiceLocation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126070c-0864-4b03-b2dc-aab5d8c3934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Bildmarkierungen" ma:readOnly="false" ma:fieldId="{5cf76f15-5ced-4ddc-b409-7134ff3c332f}" ma:taxonomyMulti="true" ma:sspId="55a6c181-b3a6-4e6d-958a-84db063416a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7396690-0b91-46d2-ad5a-06f45914e19c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fee948aa-5406-442d-a9f3-76bef890740c}" ma:internalName="TaxCatchAll" ma:showField="CatchAllData" ma:web="97396690-0b91-46d2-ad5a-06f45914e19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97396690-0b91-46d2-ad5a-06f45914e19c" xsi:nil="true"/>
    <lcf76f155ced4ddcb4097134ff3c332f xmlns="6126070c-0864-4b03-b2dc-aab5d8c39348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81D38149-AF46-4DAF-AD3C-3F9AAC0C5C0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126070c-0864-4b03-b2dc-aab5d8c39348"/>
    <ds:schemaRef ds:uri="97396690-0b91-46d2-ad5a-06f45914e19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61F0326B-7C1A-45A3-8DA0-69177D7DF15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CDA25CC-4121-470E-8B41-1BE7874AB2F0}">
  <ds:schemaRefs>
    <ds:schemaRef ds:uri="97396690-0b91-46d2-ad5a-06f45914e19c"/>
    <ds:schemaRef ds:uri="http://purl.org/dc/elements/1.1/"/>
    <ds:schemaRef ds:uri="http://schemas.microsoft.com/office/2006/metadata/properties"/>
    <ds:schemaRef ds:uri="http://www.w3.org/XML/1998/namespace"/>
    <ds:schemaRef ds:uri="http://schemas.microsoft.com/office/infopath/2007/PartnerControls"/>
    <ds:schemaRef ds:uri="http://purl.org/dc/terms/"/>
    <ds:schemaRef ds:uri="http://purl.org/dc/dcmitype/"/>
    <ds:schemaRef ds:uri="http://schemas.microsoft.com/office/2006/documentManagement/types"/>
    <ds:schemaRef ds:uri="http://schemas.openxmlformats.org/package/2006/metadata/core-properties"/>
    <ds:schemaRef ds:uri="6126070c-0864-4b03-b2dc-aab5d8c39348"/>
  </ds:schemaRefs>
</ds:datastoreItem>
</file>

<file path=docMetadata/LabelInfo.xml><?xml version="1.0" encoding="utf-8"?>
<clbl:labelList xmlns:clbl="http://schemas.microsoft.com/office/2020/mipLabelMetadata">
  <clbl:label id="{3b21a9fc-8389-4b4b-8029-c7604668a790}" enabled="1" method="Privileged" siteId="{bde4dffc-4b60-4cf6-8b04-a5eeb25f5c4f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CAMARA Master Template</Template>
  <TotalTime>372</TotalTime>
  <Words>1071</Words>
  <Application>Microsoft Macintosh PowerPoint</Application>
  <PresentationFormat>Custom</PresentationFormat>
  <Paragraphs>180</Paragraphs>
  <Slides>8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8" baseType="lpstr">
      <vt:lpstr>Wingdings 2</vt:lpstr>
      <vt:lpstr>Arial</vt:lpstr>
      <vt:lpstr>FlexoSoft</vt:lpstr>
      <vt:lpstr>Montserrat SemiBold</vt:lpstr>
      <vt:lpstr>Montserrat</vt:lpstr>
      <vt:lpstr>Calibri</vt:lpstr>
      <vt:lpstr>Open Sans</vt:lpstr>
      <vt:lpstr>Montserrat Light</vt:lpstr>
      <vt:lpstr>Detecon_Master</vt:lpstr>
      <vt:lpstr>think-cell Folie</vt:lpstr>
      <vt:lpstr>PowerPoint Presentation</vt:lpstr>
      <vt:lpstr>Release Management Motivation and Benefits</vt:lpstr>
      <vt:lpstr>Release Management Release Cycle</vt:lpstr>
      <vt:lpstr>Meta-release Fall 2024</vt:lpstr>
      <vt:lpstr>Beyond Fall24 Meta-release  – Upcoming APIs</vt:lpstr>
      <vt:lpstr>PowerPoint Presentation</vt:lpstr>
      <vt:lpstr>Meta-release Fall 2024</vt:lpstr>
      <vt:lpstr>Release Management API List Fall24 Meta-releas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Kümmerle, Markus</dc:creator>
  <cp:lastModifiedBy>Damker, Herbert</cp:lastModifiedBy>
  <cp:revision>13</cp:revision>
  <dcterms:created xsi:type="dcterms:W3CDTF">2024-08-07T14:49:18Z</dcterms:created>
  <dcterms:modified xsi:type="dcterms:W3CDTF">2024-09-13T06:47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44AD662EB7A25499208DD4235E5F8D6</vt:lpwstr>
  </property>
</Properties>
</file>